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  <p:sldMasterId id="2147483666" r:id="rId3"/>
  </p:sldMasterIdLst>
  <p:notesMasterIdLst>
    <p:notesMasterId r:id="rId23"/>
  </p:notesMasterIdLst>
  <p:sldIdLst>
    <p:sldId id="260" r:id="rId4"/>
    <p:sldId id="325" r:id="rId5"/>
    <p:sldId id="324" r:id="rId6"/>
    <p:sldId id="287" r:id="rId7"/>
    <p:sldId id="315" r:id="rId8"/>
    <p:sldId id="319" r:id="rId9"/>
    <p:sldId id="320" r:id="rId10"/>
    <p:sldId id="321" r:id="rId11"/>
    <p:sldId id="322" r:id="rId12"/>
    <p:sldId id="307" r:id="rId13"/>
    <p:sldId id="323" r:id="rId14"/>
    <p:sldId id="288" r:id="rId15"/>
    <p:sldId id="299" r:id="rId16"/>
    <p:sldId id="279" r:id="rId17"/>
    <p:sldId id="308" r:id="rId18"/>
    <p:sldId id="317" r:id="rId19"/>
    <p:sldId id="296" r:id="rId20"/>
    <p:sldId id="305" r:id="rId21"/>
    <p:sldId id="293" r:id="rId22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644E"/>
    <a:srgbClr val="1BCCB3"/>
    <a:srgbClr val="04AAC1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364" autoAdjust="0"/>
    <p:restoredTop sz="92649" autoAdjust="0"/>
  </p:normalViewPr>
  <p:slideViewPr>
    <p:cSldViewPr snapToGrid="0">
      <p:cViewPr varScale="1">
        <p:scale>
          <a:sx n="88" d="100"/>
          <a:sy n="88" d="100"/>
        </p:scale>
        <p:origin x="881" y="4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19"/>
          <c:dPt>
            <c:idx val="0"/>
            <c:bubble3D val="0"/>
            <c:spPr>
              <a:solidFill>
                <a:srgbClr val="04AAC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78F-4129-BAE7-B1C8420E0640}"/>
              </c:ext>
            </c:extLst>
          </c:dPt>
          <c:dPt>
            <c:idx val="1"/>
            <c:bubble3D val="0"/>
            <c:explosion val="5"/>
            <c:spPr>
              <a:solidFill>
                <a:srgbClr val="FE644E"/>
              </a:solidFill>
              <a:ln w="19050">
                <a:solidFill>
                  <a:srgbClr val="FE644E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78F-4129-BAE7-B1C8420E0640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00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8F-4129-BAE7-B1C8420E06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085999015748032E-2"/>
          <c:y val="2.8429685751126615E-2"/>
          <c:w val="0.69097650098425212"/>
          <c:h val="0.45329690863084959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проектов, шт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bg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50</c:v>
                </c:pt>
                <c:pt idx="1">
                  <c:v>65</c:v>
                </c:pt>
                <c:pt idx="2">
                  <c:v>40</c:v>
                </c:pt>
                <c:pt idx="3">
                  <c:v>35</c:v>
                </c:pt>
                <c:pt idx="4">
                  <c:v>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99D-4F8D-A76A-4F5F7C5E14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17389104"/>
        <c:axId val="1017387440"/>
      </c:lineChart>
      <c:catAx>
        <c:axId val="101738910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17387440"/>
        <c:crosses val="autoZero"/>
        <c:auto val="1"/>
        <c:lblAlgn val="ctr"/>
        <c:lblOffset val="100"/>
        <c:noMultiLvlLbl val="0"/>
      </c:catAx>
      <c:valAx>
        <c:axId val="10173874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17389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132900199758146E-2"/>
          <c:y val="6.3924575407204573E-2"/>
          <c:w val="0.59450508734032581"/>
          <c:h val="0.7703945477873952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асходы консолидированного бюджета на культуру</c:v>
                </c:pt>
              </c:strCache>
            </c:strRef>
          </c:tx>
          <c:spPr>
            <a:solidFill>
              <a:srgbClr val="1BCCB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rgbClr val="1BCCB3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Лист1!$B$2:$B$5</c:f>
              <c:numCache>
                <c:formatCode>#,##0</c:formatCode>
                <c:ptCount val="4"/>
                <c:pt idx="0">
                  <c:v>493</c:v>
                </c:pt>
                <c:pt idx="1">
                  <c:v>528</c:v>
                </c:pt>
                <c:pt idx="2">
                  <c:v>597</c:v>
                </c:pt>
                <c:pt idx="3" formatCode="General">
                  <c:v>6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FD4-4739-8BA6-39BE29D6BE89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Частные инвестиции в основной капитал в культуре</c:v>
                </c:pt>
              </c:strCache>
            </c:strRef>
          </c:tx>
          <c:spPr>
            <a:solidFill>
              <a:srgbClr val="1BCCB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AE0F-4D95-8B1E-267AA0E3489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E0F-4D95-8B1E-267AA0E3489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E0F-4D95-8B1E-267AA0E3489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AE0F-4D95-8B1E-267AA0E3489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Лист1!$C$2:$C$5</c:f>
              <c:numCache>
                <c:formatCode>#,##0</c:formatCode>
                <c:ptCount val="4"/>
                <c:pt idx="0">
                  <c:v>47</c:v>
                </c:pt>
                <c:pt idx="1">
                  <c:v>20</c:v>
                </c:pt>
                <c:pt idx="2">
                  <c:v>28</c:v>
                </c:pt>
                <c:pt idx="3" formatCode="General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FD4-4739-8BA6-39BE29D6BE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6"/>
        <c:overlap val="-27"/>
        <c:axId val="816459312"/>
        <c:axId val="816456048"/>
      </c:barChart>
      <c:catAx>
        <c:axId val="816459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16456048"/>
        <c:crosses val="autoZero"/>
        <c:auto val="1"/>
        <c:lblAlgn val="ctr"/>
        <c:lblOffset val="100"/>
        <c:noMultiLvlLbl val="0"/>
      </c:catAx>
      <c:valAx>
        <c:axId val="816456048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crossAx val="816459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1BCCB3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0.717132752193398"/>
          <c:y val="6.7226048646739131E-2"/>
          <c:w val="0.27737645684303153"/>
          <c:h val="0.5633590007815545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48645756357537767"/>
          <c:w val="1"/>
          <c:h val="0.30017466507794516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bg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30</c:v>
                </c:pt>
              </c:numCache>
            </c:numRef>
          </c:cat>
          <c:val>
            <c:numRef>
              <c:f>Лист1!$B$2:$B$5</c:f>
              <c:numCache>
                <c:formatCode>0%</c:formatCode>
                <c:ptCount val="4"/>
                <c:pt idx="0">
                  <c:v>0.1</c:v>
                </c:pt>
                <c:pt idx="1">
                  <c:v>0.04</c:v>
                </c:pt>
                <c:pt idx="2">
                  <c:v>0.05</c:v>
                </c:pt>
                <c:pt idx="3">
                  <c:v>0.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2EF-46E5-B42C-D7E63FCDBC9B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495699920"/>
        <c:axId val="495700752"/>
      </c:lineChart>
      <c:catAx>
        <c:axId val="495699920"/>
        <c:scaling>
          <c:orientation val="minMax"/>
        </c:scaling>
        <c:delete val="1"/>
        <c:axPos val="b"/>
        <c:numFmt formatCode="General" sourceLinked="0"/>
        <c:majorTickMark val="none"/>
        <c:minorTickMark val="none"/>
        <c:tickLblPos val="nextTo"/>
        <c:crossAx val="495700752"/>
        <c:crosses val="autoZero"/>
        <c:auto val="1"/>
        <c:lblAlgn val="ctr"/>
        <c:lblOffset val="100"/>
        <c:noMultiLvlLbl val="0"/>
      </c:catAx>
      <c:valAx>
        <c:axId val="49570075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495699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29729958488748E-2"/>
          <c:y val="0.48645756357537767"/>
          <c:w val="0.90540540083022503"/>
          <c:h val="0.30017466507794516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1BCCB3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rgbClr val="1BCCB3"/>
              </a:solidFill>
              <a:ln w="9525">
                <a:solidFill>
                  <a:srgbClr val="1BCCB3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rgbClr val="1BCCB3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30</c:v>
                </c:pt>
              </c:numCache>
            </c:numRef>
          </c:cat>
          <c:val>
            <c:numRef>
              <c:f>Лист1!$B$2:$B$4</c:f>
              <c:numCache>
                <c:formatCode>0%</c:formatCode>
                <c:ptCount val="3"/>
                <c:pt idx="0">
                  <c:v>1</c:v>
                </c:pt>
                <c:pt idx="1">
                  <c:v>1</c:v>
                </c:pt>
                <c:pt idx="2">
                  <c:v>1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259-4816-9FB2-A395A916857E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495699920"/>
        <c:axId val="495700752"/>
      </c:lineChart>
      <c:catAx>
        <c:axId val="495699920"/>
        <c:scaling>
          <c:orientation val="minMax"/>
        </c:scaling>
        <c:delete val="1"/>
        <c:axPos val="b"/>
        <c:numFmt formatCode="General" sourceLinked="0"/>
        <c:majorTickMark val="none"/>
        <c:minorTickMark val="none"/>
        <c:tickLblPos val="nextTo"/>
        <c:crossAx val="495700752"/>
        <c:crosses val="autoZero"/>
        <c:auto val="1"/>
        <c:lblAlgn val="ctr"/>
        <c:lblOffset val="100"/>
        <c:noMultiLvlLbl val="0"/>
      </c:catAx>
      <c:valAx>
        <c:axId val="49570075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495699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29729958488748E-2"/>
          <c:y val="0.40413397589339067"/>
          <c:w val="0.90540540083022503"/>
          <c:h val="0.38249825275993216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1BCCB3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rgbClr val="1BCCB3"/>
              </a:solidFill>
              <a:ln w="9525">
                <a:solidFill>
                  <a:srgbClr val="1BCCB3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1BCCB3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30</c:v>
                </c:pt>
              </c:numCache>
            </c:numRef>
          </c:cat>
          <c:val>
            <c:numRef>
              <c:f>Лист1!$B$2:$B$4</c:f>
              <c:numCache>
                <c:formatCode>0</c:formatCode>
                <c:ptCount val="3"/>
                <c:pt idx="0">
                  <c:v>1718</c:v>
                </c:pt>
                <c:pt idx="1">
                  <c:v>601</c:v>
                </c:pt>
                <c:pt idx="2">
                  <c:v>46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D22-4BA9-9D33-3CF3302D6731}"/>
            </c:ext>
          </c:extLst>
        </c:ser>
        <c:dLbls>
          <c:dLblPos val="b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495699920"/>
        <c:axId val="495700752"/>
      </c:lineChart>
      <c:lineChart>
        <c:grouping val="standard"/>
        <c:varyColors val="0"/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30</c:v>
                </c:pt>
              </c:numCache>
            </c:numRef>
          </c:cat>
          <c:val>
            <c:numRef>
              <c:f>Лист1!$C$2:$C$4</c:f>
              <c:numCache>
                <c:formatCode>0</c:formatCode>
                <c:ptCount val="3"/>
                <c:pt idx="0">
                  <c:v>58</c:v>
                </c:pt>
                <c:pt idx="1">
                  <c:v>20</c:v>
                </c:pt>
                <c:pt idx="2">
                  <c:v>1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D22-4BA9-9D33-3CF3302D6731}"/>
            </c:ext>
          </c:extLst>
        </c:ser>
        <c:dLbls>
          <c:dLblPos val="b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612855984"/>
        <c:axId val="612859312"/>
      </c:lineChart>
      <c:catAx>
        <c:axId val="495699920"/>
        <c:scaling>
          <c:orientation val="minMax"/>
        </c:scaling>
        <c:delete val="1"/>
        <c:axPos val="b"/>
        <c:numFmt formatCode="General" sourceLinked="0"/>
        <c:majorTickMark val="none"/>
        <c:minorTickMark val="none"/>
        <c:tickLblPos val="nextTo"/>
        <c:crossAx val="495700752"/>
        <c:crosses val="autoZero"/>
        <c:auto val="1"/>
        <c:lblAlgn val="ctr"/>
        <c:lblOffset val="100"/>
        <c:noMultiLvlLbl val="0"/>
      </c:catAx>
      <c:valAx>
        <c:axId val="495700752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extTo"/>
        <c:crossAx val="495699920"/>
        <c:crosses val="autoZero"/>
        <c:crossBetween val="between"/>
      </c:valAx>
      <c:valAx>
        <c:axId val="612859312"/>
        <c:scaling>
          <c:orientation val="minMax"/>
          <c:max val="4700"/>
        </c:scaling>
        <c:delete val="1"/>
        <c:axPos val="r"/>
        <c:numFmt formatCode="0" sourceLinked="1"/>
        <c:majorTickMark val="out"/>
        <c:minorTickMark val="none"/>
        <c:tickLblPos val="nextTo"/>
        <c:crossAx val="612855984"/>
        <c:crosses val="max"/>
        <c:crossBetween val="between"/>
      </c:valAx>
      <c:catAx>
        <c:axId val="6128559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1285931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29729958488748E-2"/>
          <c:y val="0.48645756357537767"/>
          <c:w val="0.90540540083022503"/>
          <c:h val="0.30017466507794516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1BCCB3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rgbClr val="1BCCB3"/>
              </a:solidFill>
              <a:ln w="9525">
                <a:solidFill>
                  <a:srgbClr val="1BCCB3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rgbClr val="1BCCB3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30</c:v>
                </c:pt>
              </c:numCache>
            </c:numRef>
          </c:cat>
          <c:val>
            <c:numRef>
              <c:f>Лист1!$B$2:$B$4</c:f>
              <c:numCache>
                <c:formatCode>0%</c:formatCode>
                <c:ptCount val="3"/>
                <c:pt idx="1">
                  <c:v>1</c:v>
                </c:pt>
                <c:pt idx="2">
                  <c:v>1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2B4-4C09-AA3C-6762C35E301A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495699920"/>
        <c:axId val="495700752"/>
      </c:lineChart>
      <c:catAx>
        <c:axId val="495699920"/>
        <c:scaling>
          <c:orientation val="minMax"/>
        </c:scaling>
        <c:delete val="1"/>
        <c:axPos val="b"/>
        <c:numFmt formatCode="General" sourceLinked="0"/>
        <c:majorTickMark val="none"/>
        <c:minorTickMark val="none"/>
        <c:tickLblPos val="nextTo"/>
        <c:crossAx val="495700752"/>
        <c:crosses val="autoZero"/>
        <c:auto val="1"/>
        <c:lblAlgn val="ctr"/>
        <c:lblOffset val="100"/>
        <c:noMultiLvlLbl val="0"/>
      </c:catAx>
      <c:valAx>
        <c:axId val="49570075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495699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29729958488748E-2"/>
          <c:y val="0.56129718874082046"/>
          <c:w val="0.90540540083022503"/>
          <c:h val="0.22533503991250245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1BCCB3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rgbClr val="1BCCB3"/>
              </a:solidFill>
              <a:ln w="9525">
                <a:solidFill>
                  <a:srgbClr val="1BCCB3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1BCCB3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30</c:v>
                </c:pt>
              </c:numCache>
            </c:numRef>
          </c:cat>
          <c:val>
            <c:numRef>
              <c:f>Лист1!$B$2:$B$4</c:f>
              <c:numCache>
                <c:formatCode>0</c:formatCode>
                <c:ptCount val="3"/>
                <c:pt idx="1">
                  <c:v>21</c:v>
                </c:pt>
                <c:pt idx="2">
                  <c:v>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3EA-47C3-B1EC-29E064F32957}"/>
            </c:ext>
          </c:extLst>
        </c:ser>
        <c:dLbls>
          <c:dLblPos val="b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495699920"/>
        <c:axId val="495700752"/>
      </c:lineChart>
      <c:lineChart>
        <c:grouping val="standard"/>
        <c:varyColors val="0"/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30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1">
                  <c:v>0.6</c:v>
                </c:pt>
                <c:pt idx="2">
                  <c:v>0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3EA-47C3-B1EC-29E064F32957}"/>
            </c:ext>
          </c:extLst>
        </c:ser>
        <c:dLbls>
          <c:dLblPos val="b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612855984"/>
        <c:axId val="612859312"/>
      </c:lineChart>
      <c:catAx>
        <c:axId val="495699920"/>
        <c:scaling>
          <c:orientation val="minMax"/>
        </c:scaling>
        <c:delete val="1"/>
        <c:axPos val="b"/>
        <c:numFmt formatCode="General" sourceLinked="0"/>
        <c:majorTickMark val="none"/>
        <c:minorTickMark val="none"/>
        <c:tickLblPos val="nextTo"/>
        <c:crossAx val="495700752"/>
        <c:crosses val="autoZero"/>
        <c:auto val="1"/>
        <c:lblAlgn val="ctr"/>
        <c:lblOffset val="100"/>
        <c:noMultiLvlLbl val="0"/>
      </c:catAx>
      <c:valAx>
        <c:axId val="495700752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extTo"/>
        <c:crossAx val="495699920"/>
        <c:crosses val="autoZero"/>
        <c:crossBetween val="between"/>
      </c:valAx>
      <c:valAx>
        <c:axId val="612859312"/>
        <c:scaling>
          <c:orientation val="minMax"/>
          <c:max val="4700"/>
        </c:scaling>
        <c:delete val="1"/>
        <c:axPos val="r"/>
        <c:numFmt formatCode="General" sourceLinked="1"/>
        <c:majorTickMark val="out"/>
        <c:minorTickMark val="none"/>
        <c:tickLblPos val="nextTo"/>
        <c:crossAx val="612855984"/>
        <c:crosses val="max"/>
        <c:crossBetween val="between"/>
      </c:valAx>
      <c:catAx>
        <c:axId val="6128559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1285931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089789330883075"/>
          <c:y val="0.16828760135153895"/>
          <c:w val="0.27680052141588968"/>
          <c:h val="0.4871118654438264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4AAC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CD3-41C1-985D-473792465ADD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4CD3-41C1-985D-473792465AD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35A-470E-A6C5-78F574FDDAC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35A-470E-A6C5-78F574FDDAC6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35A-470E-A6C5-78F574FDDAC6}"/>
              </c:ext>
            </c:extLst>
          </c:dPt>
          <c:dPt>
            <c:idx val="5"/>
            <c:bubble3D val="0"/>
            <c:explosion val="23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4CD3-41C1-985D-473792465ADD}"/>
              </c:ext>
            </c:extLst>
          </c:dPt>
          <c:dPt>
            <c:idx val="6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CD3-41C1-985D-473792465AD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8</c:f>
              <c:strCache>
                <c:ptCount val="7"/>
                <c:pt idx="0">
                  <c:v>Транспорт</c:v>
                </c:pt>
                <c:pt idx="1">
                  <c:v>Коммунальная сфера</c:v>
                </c:pt>
                <c:pt idx="2">
                  <c:v>Образование</c:v>
                </c:pt>
                <c:pt idx="3">
                  <c:v>Телеком</c:v>
                </c:pt>
                <c:pt idx="4">
                  <c:v>Окружающая среда</c:v>
                </c:pt>
                <c:pt idx="5">
                  <c:v>Культура</c:v>
                </c:pt>
                <c:pt idx="6">
                  <c:v>Иное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6</c:v>
                </c:pt>
                <c:pt idx="1">
                  <c:v>1.5</c:v>
                </c:pt>
                <c:pt idx="2">
                  <c:v>1</c:v>
                </c:pt>
                <c:pt idx="3">
                  <c:v>0.8</c:v>
                </c:pt>
                <c:pt idx="4">
                  <c:v>0.5</c:v>
                </c:pt>
                <c:pt idx="5">
                  <c:v>0.1</c:v>
                </c:pt>
                <c:pt idx="6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CD3-41C1-985D-473792465A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1271458992000039"/>
          <c:y val="0.12682263651063455"/>
          <c:w val="0.33395373868331585"/>
          <c:h val="0.5051929648489816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5644381631720614E-2"/>
          <c:y val="6.3242888909813916E-2"/>
          <c:w val="0.59930883159828374"/>
          <c:h val="0.7728430417430228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имость, млрд евро</c:v>
                </c:pt>
              </c:strCache>
            </c:strRef>
          </c:tx>
          <c:spPr>
            <a:solidFill>
              <a:srgbClr val="1BCCB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1BCCB3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7</c:v>
                </c:pt>
                <c:pt idx="1">
                  <c:v>13</c:v>
                </c:pt>
                <c:pt idx="2">
                  <c:v>16</c:v>
                </c:pt>
                <c:pt idx="3">
                  <c:v>15</c:v>
                </c:pt>
                <c:pt idx="4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49-430A-AAA2-4C73C4BA8A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6"/>
        <c:overlap val="-27"/>
        <c:axId val="1043250784"/>
        <c:axId val="1043245792"/>
      </c:barChart>
      <c:catAx>
        <c:axId val="1043250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43245792"/>
        <c:crosses val="autoZero"/>
        <c:auto val="1"/>
        <c:lblAlgn val="ctr"/>
        <c:lblOffset val="100"/>
        <c:noMultiLvlLbl val="0"/>
      </c:catAx>
      <c:valAx>
        <c:axId val="104324579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432507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0.57599575738762865"/>
          <c:y val="0"/>
          <c:w val="0.3936972461385197"/>
          <c:h val="0.196827986585445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B6D942-0920-4F16-BA9E-4070D4EE5EC6}" type="datetimeFigureOut">
              <a:rPr lang="ru-RU" smtClean="0"/>
              <a:t>27.05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E93F70-AF3A-46AD-BE14-AA9CA09E915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03038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E93F70-AF3A-46AD-BE14-AA9CA09E9158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80246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http://251C614EB919F86D981F750EB8649E72.dms.sberbank.ru/251C614EB919F86D981F750EB8649E72-E51EDCCC74AC07140308FE5E211E6718-710A488E51509F1DDDF3D164982A390C/1.png" TargetMode="Externa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http://251C614EB919F86D981F750EB8649E72.dms.sberbank.ru/251C614EB919F86D981F750EB8649E72-E51EDCCC74AC07140308FE5E211E6718-710A488E51509F1DDDF3D164982A390C/1.png" TargetMode="External"/><Relationship Id="rId4" Type="http://schemas.openxmlformats.org/officeDocument/2006/relationships/image" Target="http://251C614EB919F86D981F750EB8649E72.dms.sberbank.ru/251C614EB919F86D981F750EB8649E72-E51EDCCC74AC07140308FE5E211E6718-C392B22D25AF786040308B782322A6F8/1.png" TargetMode="Externa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http://251C614EB919F86D981F750EB8649E72.dms.sberbank.ru/251C614EB919F86D981F750EB8649E72-E51EDCCC74AC07140308FE5E211E6718-710A488E51509F1DDDF3D164982A390C/1.png" TargetMode="External"/><Relationship Id="rId4" Type="http://schemas.openxmlformats.org/officeDocument/2006/relationships/image" Target="http://251C614EB919F86D981F750EB8649E72.dms.sberbank.ru/251C614EB919F86D981F750EB8649E72-E51EDCCC74AC07140308FE5E211E6718-C392B22D25AF786040308B782322A6F8/1.png" TargetMode="Externa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">
            <a:extLst>
              <a:ext uri="{FF2B5EF4-FFF2-40B4-BE49-F238E27FC236}">
                <a16:creationId xmlns:a16="http://schemas.microsoft.com/office/drawing/2014/main" id="{C42662A5-FD32-4F65-BCC6-C668ACFEF3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3F6DA376-5B17-4FA0-85F7-AFA38E2D2D2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212" b="36429"/>
          <a:stretch/>
        </p:blipFill>
        <p:spPr bwMode="auto">
          <a:xfrm>
            <a:off x="0" y="293912"/>
            <a:ext cx="4833356" cy="6564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7BBB9A2-7BE2-4C5C-AAEC-07B53A728696}"/>
              </a:ext>
            </a:extLst>
          </p:cNvPr>
          <p:cNvSpPr txBox="1"/>
          <p:nvPr userDrawn="1"/>
        </p:nvSpPr>
        <p:spPr>
          <a:xfrm>
            <a:off x="6986049" y="6557048"/>
            <a:ext cx="517691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C37E7C-B5BB-4CCD-9279-93DE0E828F29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F9C9D">
                    <a:lumMod val="40000"/>
                    <a:lumOff val="6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Arial" pitchFamily="34" charset="0"/>
                <a:sym typeface="Webding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5F9C9D">
                    <a:lumMod val="40000"/>
                    <a:lumOff val="6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Arial" pitchFamily="34" charset="0"/>
                <a:sym typeface="Webdings"/>
              </a:rPr>
              <a:t>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5F9C9D">
                  <a:lumMod val="40000"/>
                  <a:lumOff val="6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pic>
        <p:nvPicPr>
          <p:cNvPr id="47" name="Рисунок 46" descr="http://251C614EB919F86D981F750EB8649E72.dms.sberbank.ru/251C614EB919F86D981F750EB8649E72-E51EDCCC74AC07140308FE5E211E6718-710A488E51509F1DDDF3D164982A390C/1.png"/>
          <p:cNvPicPr>
            <a:picLocks/>
          </p:cNvPicPr>
          <p:nvPr userDrawn="1"/>
        </p:nvPicPr>
        <p:blipFill>
          <a:blip r:link="rId4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8" name="Рисунок 47" descr="http://251C614EB919F86D981F750EB8649E72.dms.sberbank.ru/251C614EB919F86D981F750EB8649E72-E51EDCCC74AC07140308FE5E211E6718-710A488E51509F1DDDF3D164982A390C/1.png"/>
          <p:cNvPicPr>
            <a:picLocks/>
          </p:cNvPicPr>
          <p:nvPr userDrawn="1"/>
        </p:nvPicPr>
        <p:blipFill>
          <a:blip r:link="rId4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9" name="Рисунок 48" descr="http://251C614EB919F86D981F750EB8649E72.dms.sberbank.ru/251C614EB919F86D981F750EB8649E72-E51EDCCC74AC07140308FE5E211E6718-710A488E51509F1DDDF3D164982A390C/1.png"/>
          <p:cNvPicPr>
            <a:picLocks/>
          </p:cNvPicPr>
          <p:nvPr userDrawn="1"/>
        </p:nvPicPr>
        <p:blipFill>
          <a:blip r:link="rId4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50" name="Рисунок 49" descr="http://251C614EB919F86D981F750EB8649E72.dms.sberbank.ru/251C614EB919F86D981F750EB8649E72-E51EDCCC74AC07140308FE5E211E6718-710A488E51509F1DDDF3D164982A390C/1.png"/>
          <p:cNvPicPr>
            <a:picLocks/>
          </p:cNvPicPr>
          <p:nvPr userDrawn="1"/>
        </p:nvPicPr>
        <p:blipFill>
          <a:blip r:link="rId4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51" name="Рисунок 50" descr="http://251C614EB919F86D981F750EB8649E72.dms.sberbank.ru/251C614EB919F86D981F750EB8649E72-E51EDCCC74AC07140308FE5E211E6718-710A488E51509F1DDDF3D164982A390C/1.png"/>
          <p:cNvPicPr>
            <a:picLocks/>
          </p:cNvPicPr>
          <p:nvPr userDrawn="1"/>
        </p:nvPicPr>
        <p:blipFill>
          <a:blip r:link="rId4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52" name="Рисунок 51" descr="http://251C614EB919F86D981F750EB8649E72.dms.sberbank.ru/251C614EB919F86D981F750EB8649E72-E51EDCCC74AC07140308FE5E211E6718-710A488E51509F1DDDF3D164982A390C/1.png"/>
          <p:cNvPicPr>
            <a:picLocks/>
          </p:cNvPicPr>
          <p:nvPr userDrawn="1"/>
        </p:nvPicPr>
        <p:blipFill>
          <a:blip r:link="rId4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53" name="Рисунок 52" descr="http://251C614EB919F86D981F750EB8649E72.dms.sberbank.ru/251C614EB919F86D981F750EB8649E72-E51EDCCC74AC07140308FE5E211E6718-710A488E51509F1DDDF3D164982A390C/1.png"/>
          <p:cNvPicPr>
            <a:picLocks/>
          </p:cNvPicPr>
          <p:nvPr userDrawn="1"/>
        </p:nvPicPr>
        <p:blipFill>
          <a:blip r:link="rId4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54" name="Рисунок 53" descr="http://251C614EB919F86D981F750EB8649E72.dms.sberbank.ru/251C614EB919F86D981F750EB8649E72-E51EDCCC74AC07140308FE5E211E6718-710A488E51509F1DDDF3D164982A390C/1.png"/>
          <p:cNvPicPr>
            <a:picLocks/>
          </p:cNvPicPr>
          <p:nvPr userDrawn="1"/>
        </p:nvPicPr>
        <p:blipFill>
          <a:blip r:link="rId4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55" name="Рисунок 54" descr="http://251C614EB919F86D981F750EB8649E72.dms.sberbank.ru/251C614EB919F86D981F750EB8649E72-E51EDCCC74AC07140308FE5E211E6718-710A488E51509F1DDDF3D164982A390C/1.png"/>
          <p:cNvPicPr>
            <a:picLocks/>
          </p:cNvPicPr>
          <p:nvPr userDrawn="1"/>
        </p:nvPicPr>
        <p:blipFill>
          <a:blip r:link="rId4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56" name="Рисунок 55" descr="http://251C614EB919F86D981F750EB8649E72.dms.sberbank.ru/251C614EB919F86D981F750EB8649E72-E51EDCCC74AC07140308FE5E211E6718-710A488E51509F1DDDF3D164982A390C/1.png"/>
          <p:cNvPicPr>
            <a:picLocks/>
          </p:cNvPicPr>
          <p:nvPr userDrawn="1"/>
        </p:nvPicPr>
        <p:blipFill>
          <a:blip r:link="rId4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57" name="Рисунок 56" descr="http://251C614EB919F86D981F750EB8649E72.dms.sberbank.ru/251C614EB919F86D981F750EB8649E72-E51EDCCC74AC07140308FE5E211E6718-710A488E51509F1DDDF3D164982A390C/1.png"/>
          <p:cNvPicPr>
            <a:picLocks/>
          </p:cNvPicPr>
          <p:nvPr userDrawn="1"/>
        </p:nvPicPr>
        <p:blipFill>
          <a:blip r:link="rId4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58" name="Рисунок 57" descr="http://251C614EB919F86D981F750EB8649E72.dms.sberbank.ru/251C614EB919F86D981F750EB8649E72-E51EDCCC74AC07140308FE5E211E6718-710A488E51509F1DDDF3D164982A390C/1.png"/>
          <p:cNvPicPr>
            <a:picLocks/>
          </p:cNvPicPr>
          <p:nvPr userDrawn="1"/>
        </p:nvPicPr>
        <p:blipFill>
          <a:blip r:link="rId4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59" name="Рисунок 58" descr="http://251C614EB919F86D981F750EB8649E72.dms.sberbank.ru/251C614EB919F86D981F750EB8649E72-E51EDCCC74AC07140308FE5E211E6718-710A488E51509F1DDDF3D164982A390C/1.png"/>
          <p:cNvPicPr>
            <a:picLocks/>
          </p:cNvPicPr>
          <p:nvPr userDrawn="1"/>
        </p:nvPicPr>
        <p:blipFill>
          <a:blip r:link="rId4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60" name="Рисунок 59" descr="http://251C614EB919F86D981F750EB8649E72.dms.sberbank.ru/251C614EB919F86D981F750EB8649E72-E51EDCCC74AC07140308FE5E211E6718-710A488E51509F1DDDF3D164982A390C/1.png"/>
          <p:cNvPicPr>
            <a:picLocks/>
          </p:cNvPicPr>
          <p:nvPr userDrawn="1"/>
        </p:nvPicPr>
        <p:blipFill>
          <a:blip r:link="rId4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140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AC7522D-256B-46D4-BED9-E26BB942731C}"/>
              </a:ext>
            </a:extLst>
          </p:cNvPr>
          <p:cNvSpPr/>
          <p:nvPr userDrawn="1"/>
        </p:nvSpPr>
        <p:spPr>
          <a:xfrm>
            <a:off x="0" y="6549494"/>
            <a:ext cx="12192000" cy="308506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</a:schemeClr>
              </a:gs>
              <a:gs pos="33000">
                <a:schemeClr val="accent5">
                  <a:lumMod val="85000"/>
                  <a:lumOff val="15000"/>
                </a:schemeClr>
              </a:gs>
              <a:gs pos="100000">
                <a:schemeClr val="accent5">
                  <a:lumMod val="79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7BBB9A2-7BE2-4C5C-AAEC-07B53A728696}"/>
              </a:ext>
            </a:extLst>
          </p:cNvPr>
          <p:cNvSpPr txBox="1"/>
          <p:nvPr userDrawn="1"/>
        </p:nvSpPr>
        <p:spPr>
          <a:xfrm>
            <a:off x="6986049" y="6557048"/>
            <a:ext cx="517691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5F9C9D">
                    <a:lumMod val="40000"/>
                    <a:lumOff val="6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Arial" pitchFamily="34" charset="0"/>
              </a:rPr>
              <a:t>Стратегическая сессия. Сентябрь 2020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5F9C9D">
                    <a:lumMod val="40000"/>
                    <a:lumOff val="6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Arial" pitchFamily="34" charset="0"/>
                <a:sym typeface="Wingdings 2" panose="05020102010507070707" pitchFamily="18" charset="2"/>
              </a:rPr>
              <a:t> </a:t>
            </a:r>
            <a:fld id="{1CC37E7C-B5BB-4CCD-9279-93DE0E828F29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F9C9D">
                    <a:lumMod val="40000"/>
                    <a:lumOff val="6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Arial" pitchFamily="34" charset="0"/>
                <a:sym typeface="Webding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5F9C9D">
                    <a:lumMod val="40000"/>
                    <a:lumOff val="6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Arial" pitchFamily="34" charset="0"/>
                <a:sym typeface="Webdings"/>
              </a:rPr>
              <a:t>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5F9C9D">
                  <a:lumMod val="40000"/>
                  <a:lumOff val="6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06331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">
            <a:extLst>
              <a:ext uri="{FF2B5EF4-FFF2-40B4-BE49-F238E27FC236}">
                <a16:creationId xmlns:a16="http://schemas.microsoft.com/office/drawing/2014/main" id="{C42662A5-FD32-4F65-BCC6-C668ACFEF3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3F6DA376-5B17-4FA0-85F7-AFA38E2D2D2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212" b="36429"/>
          <a:stretch/>
        </p:blipFill>
        <p:spPr bwMode="auto">
          <a:xfrm>
            <a:off x="0" y="293912"/>
            <a:ext cx="4833356" cy="6564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7BBB9A2-7BE2-4C5C-AAEC-07B53A728696}"/>
              </a:ext>
            </a:extLst>
          </p:cNvPr>
          <p:cNvSpPr txBox="1"/>
          <p:nvPr userDrawn="1"/>
        </p:nvSpPr>
        <p:spPr>
          <a:xfrm>
            <a:off x="6986049" y="6557048"/>
            <a:ext cx="517691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C37E7C-B5BB-4CCD-9279-93DE0E828F29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F9C9D">
                    <a:lumMod val="40000"/>
                    <a:lumOff val="6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Arial" pitchFamily="34" charset="0"/>
                <a:sym typeface="Webding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5F9C9D">
                    <a:lumMod val="40000"/>
                    <a:lumOff val="6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Arial" pitchFamily="34" charset="0"/>
                <a:sym typeface="Webdings"/>
              </a:rPr>
              <a:t>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5F9C9D">
                  <a:lumMod val="40000"/>
                  <a:lumOff val="6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pic>
        <p:nvPicPr>
          <p:cNvPr id="4" name="Рисунок 3" descr="http://251C614EB919F86D981F750EB8649E72.dms.sberbank.ru/251C614EB919F86D981F750EB8649E72-E51EDCCC74AC07140308FE5E211E6718-C392B22D25AF786040308B782322A6F8/1.png"/>
          <p:cNvPicPr>
            <a:picLocks/>
          </p:cNvPicPr>
          <p:nvPr userDrawn="1"/>
        </p:nvPicPr>
        <p:blipFill>
          <a:blip r:link="rId4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5" name="Рисунок 4" descr="http://251C614EB919F86D981F750EB8649E72.dms.sberbank.ru/251C614EB919F86D981F750EB8649E72-E51EDCCC74AC07140308FE5E211E6718-710A488E51509F1DDDF3D164982A390C/1.png"/>
          <p:cNvPicPr>
            <a:picLocks/>
          </p:cNvPicPr>
          <p:nvPr userDrawn="1"/>
        </p:nvPicPr>
        <p:blipFill>
          <a:blip r:link="rId5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1564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AC7522D-256B-46D4-BED9-E26BB942731C}"/>
              </a:ext>
            </a:extLst>
          </p:cNvPr>
          <p:cNvSpPr/>
          <p:nvPr userDrawn="1"/>
        </p:nvSpPr>
        <p:spPr>
          <a:xfrm>
            <a:off x="0" y="6549494"/>
            <a:ext cx="12192000" cy="308506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</a:schemeClr>
              </a:gs>
              <a:gs pos="33000">
                <a:schemeClr val="accent5">
                  <a:lumMod val="85000"/>
                  <a:lumOff val="15000"/>
                </a:schemeClr>
              </a:gs>
              <a:gs pos="100000">
                <a:schemeClr val="accent5">
                  <a:lumMod val="79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7BBB9A2-7BE2-4C5C-AAEC-07B53A728696}"/>
              </a:ext>
            </a:extLst>
          </p:cNvPr>
          <p:cNvSpPr txBox="1"/>
          <p:nvPr userDrawn="1"/>
        </p:nvSpPr>
        <p:spPr>
          <a:xfrm>
            <a:off x="6986049" y="6557048"/>
            <a:ext cx="517691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5F9C9D">
                    <a:lumMod val="40000"/>
                    <a:lumOff val="6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Arial" pitchFamily="34" charset="0"/>
              </a:rPr>
              <a:t>Стратегическая сессия. Сентябрь 2020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5F9C9D">
                    <a:lumMod val="40000"/>
                    <a:lumOff val="6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Arial" pitchFamily="34" charset="0"/>
                <a:sym typeface="Wingdings 2" panose="05020102010507070707" pitchFamily="18" charset="2"/>
              </a:rPr>
              <a:t> </a:t>
            </a:r>
            <a:fld id="{1CC37E7C-B5BB-4CCD-9279-93DE0E828F29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F9C9D">
                    <a:lumMod val="40000"/>
                    <a:lumOff val="6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Arial" pitchFamily="34" charset="0"/>
                <a:sym typeface="Webding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5F9C9D">
                    <a:lumMod val="40000"/>
                    <a:lumOff val="6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Arial" pitchFamily="34" charset="0"/>
                <a:sym typeface="Webdings"/>
              </a:rPr>
              <a:t>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5F9C9D">
                  <a:lumMod val="40000"/>
                  <a:lumOff val="6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5232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">
            <a:extLst>
              <a:ext uri="{FF2B5EF4-FFF2-40B4-BE49-F238E27FC236}">
                <a16:creationId xmlns:a16="http://schemas.microsoft.com/office/drawing/2014/main" id="{C42662A5-FD32-4F65-BCC6-C668ACFEF3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3F6DA376-5B17-4FA0-85F7-AFA38E2D2D2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212" b="36429"/>
          <a:stretch/>
        </p:blipFill>
        <p:spPr bwMode="auto">
          <a:xfrm>
            <a:off x="0" y="293912"/>
            <a:ext cx="4833356" cy="6564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7BBB9A2-7BE2-4C5C-AAEC-07B53A728696}"/>
              </a:ext>
            </a:extLst>
          </p:cNvPr>
          <p:cNvSpPr txBox="1"/>
          <p:nvPr userDrawn="1"/>
        </p:nvSpPr>
        <p:spPr>
          <a:xfrm>
            <a:off x="6986049" y="6557048"/>
            <a:ext cx="517691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C37E7C-B5BB-4CCD-9279-93DE0E828F29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F9C9D">
                    <a:lumMod val="40000"/>
                    <a:lumOff val="6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Arial" pitchFamily="34" charset="0"/>
                <a:sym typeface="Webding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5F9C9D">
                    <a:lumMod val="40000"/>
                    <a:lumOff val="6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Arial" pitchFamily="34" charset="0"/>
                <a:sym typeface="Webdings"/>
              </a:rPr>
              <a:t>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5F9C9D">
                  <a:lumMod val="40000"/>
                  <a:lumOff val="6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pic>
        <p:nvPicPr>
          <p:cNvPr id="4" name="Рисунок 3" descr="http://251C614EB919F86D981F750EB8649E72.dms.sberbank.ru/251C614EB919F86D981F750EB8649E72-E51EDCCC74AC07140308FE5E211E6718-C392B22D25AF786040308B782322A6F8/1.png"/>
          <p:cNvPicPr>
            <a:picLocks/>
          </p:cNvPicPr>
          <p:nvPr userDrawn="1"/>
        </p:nvPicPr>
        <p:blipFill>
          <a:blip r:link="rId4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6" name="Рисунок 5" descr="http://251C614EB919F86D981F750EB8649E72.dms.sberbank.ru/251C614EB919F86D981F750EB8649E72-E51EDCCC74AC07140308FE5E211E6718-710A488E51509F1DDDF3D164982A390C/1.png"/>
          <p:cNvPicPr>
            <a:picLocks/>
          </p:cNvPicPr>
          <p:nvPr userDrawn="1"/>
        </p:nvPicPr>
        <p:blipFill>
          <a:blip r:link="rId5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67183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AC7522D-256B-46D4-BED9-E26BB942731C}"/>
              </a:ext>
            </a:extLst>
          </p:cNvPr>
          <p:cNvSpPr/>
          <p:nvPr userDrawn="1"/>
        </p:nvSpPr>
        <p:spPr>
          <a:xfrm>
            <a:off x="0" y="6549494"/>
            <a:ext cx="12192000" cy="308506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</a:schemeClr>
              </a:gs>
              <a:gs pos="33000">
                <a:schemeClr val="accent5">
                  <a:lumMod val="85000"/>
                  <a:lumOff val="15000"/>
                </a:schemeClr>
              </a:gs>
              <a:gs pos="100000">
                <a:schemeClr val="accent5">
                  <a:lumMod val="79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7BBB9A2-7BE2-4C5C-AAEC-07B53A728696}"/>
              </a:ext>
            </a:extLst>
          </p:cNvPr>
          <p:cNvSpPr txBox="1"/>
          <p:nvPr userDrawn="1"/>
        </p:nvSpPr>
        <p:spPr>
          <a:xfrm>
            <a:off x="6986049" y="6557048"/>
            <a:ext cx="517691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5F9C9D">
                    <a:lumMod val="40000"/>
                    <a:lumOff val="6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Arial" pitchFamily="34" charset="0"/>
              </a:rPr>
              <a:t>Стратегическая сессия. Сентябрь 2020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5F9C9D">
                    <a:lumMod val="40000"/>
                    <a:lumOff val="6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Arial" pitchFamily="34" charset="0"/>
                <a:sym typeface="Wingdings 2" panose="05020102010507070707" pitchFamily="18" charset="2"/>
              </a:rPr>
              <a:t> </a:t>
            </a:r>
            <a:fld id="{1CC37E7C-B5BB-4CCD-9279-93DE0E828F29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F9C9D">
                    <a:lumMod val="40000"/>
                    <a:lumOff val="6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Arial" pitchFamily="34" charset="0"/>
                <a:sym typeface="Webding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5F9C9D">
                    <a:lumMod val="40000"/>
                    <a:lumOff val="6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Arial" pitchFamily="34" charset="0"/>
                <a:sym typeface="Webdings"/>
              </a:rPr>
              <a:t>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5F9C9D">
                  <a:lumMod val="40000"/>
                  <a:lumOff val="6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65763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heme" Target="../theme/theme2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heme" Target="../theme/theme3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vmlDrawing" Target="../drawings/vmlDrawing3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5E512CA4-A117-41AF-90D0-A21C68ED3A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" name="Слайд think-cell" r:id="rId7" imgW="425" imgH="424" progId="TCLayout.ActiveDocument.1">
                  <p:embed/>
                </p:oleObj>
              </mc:Choice>
              <mc:Fallback>
                <p:oleObj name="Слайд think-cell" r:id="rId7" imgW="425" imgH="424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5E512CA4-A117-41AF-90D0-A21C68ED3A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395D234B-C00C-479B-A404-1A5F20B168A8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-1588" y="1587"/>
            <a:ext cx="12193588" cy="6859968"/>
            <a:chOff x="-1588" y="1587"/>
            <a:chExt cx="12193588" cy="6859968"/>
          </a:xfrm>
        </p:grpSpPr>
        <p:sp>
          <p:nvSpPr>
            <p:cNvPr id="21" name="Oval 20"/>
            <p:cNvSpPr/>
            <p:nvPr/>
          </p:nvSpPr>
          <p:spPr>
            <a:xfrm>
              <a:off x="8761412" y="18288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Oval 22"/>
            <p:cNvSpPr/>
            <p:nvPr/>
          </p:nvSpPr>
          <p:spPr>
            <a:xfrm>
              <a:off x="8761412" y="5870955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-1588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4" name="Freeform 5"/>
            <p:cNvSpPr/>
            <p:nvPr/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27" name="Freeform 5"/>
            <p:cNvSpPr/>
            <p:nvPr/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28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</p:spTree>
    <p:extLst>
      <p:ext uri="{BB962C8B-B14F-4D97-AF65-F5344CB8AC3E}">
        <p14:creationId xmlns:p14="http://schemas.microsoft.com/office/powerpoint/2010/main" val="4031082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600" b="0" i="0" kern="1200">
          <a:solidFill>
            <a:schemeClr val="bg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5E512CA4-A117-41AF-90D0-A21C68ED3A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42" name="Слайд think-cell" r:id="rId7" imgW="425" imgH="424" progId="TCLayout.ActiveDocument.1">
                  <p:embed/>
                </p:oleObj>
              </mc:Choice>
              <mc:Fallback>
                <p:oleObj name="Слайд think-cell" r:id="rId7" imgW="425" imgH="424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5E512CA4-A117-41AF-90D0-A21C68ED3A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395D234B-C00C-479B-A404-1A5F20B168A8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-1588" y="1587"/>
            <a:ext cx="12193588" cy="6859968"/>
            <a:chOff x="-1588" y="1587"/>
            <a:chExt cx="12193588" cy="6859968"/>
          </a:xfrm>
        </p:grpSpPr>
        <p:sp>
          <p:nvSpPr>
            <p:cNvPr id="21" name="Oval 20"/>
            <p:cNvSpPr/>
            <p:nvPr/>
          </p:nvSpPr>
          <p:spPr>
            <a:xfrm>
              <a:off x="8761412" y="18288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Oval 22"/>
            <p:cNvSpPr/>
            <p:nvPr/>
          </p:nvSpPr>
          <p:spPr>
            <a:xfrm>
              <a:off x="8761412" y="5870955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-1588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4" name="Freeform 5"/>
            <p:cNvSpPr/>
            <p:nvPr/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27" name="Freeform 5"/>
            <p:cNvSpPr/>
            <p:nvPr/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28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</p:spTree>
    <p:extLst>
      <p:ext uri="{BB962C8B-B14F-4D97-AF65-F5344CB8AC3E}">
        <p14:creationId xmlns:p14="http://schemas.microsoft.com/office/powerpoint/2010/main" val="1754346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600" b="0" i="0" kern="1200">
          <a:solidFill>
            <a:schemeClr val="bg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5E512CA4-A117-41AF-90D0-A21C68ED3A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11" name="Слайд think-cell" r:id="rId7" imgW="425" imgH="424" progId="TCLayout.ActiveDocument.1">
                  <p:embed/>
                </p:oleObj>
              </mc:Choice>
              <mc:Fallback>
                <p:oleObj name="Слайд think-cell" r:id="rId7" imgW="425" imgH="424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5E512CA4-A117-41AF-90D0-A21C68ED3A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395D234B-C00C-479B-A404-1A5F20B168A8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-1588" y="1587"/>
            <a:ext cx="12193588" cy="6859968"/>
            <a:chOff x="-1588" y="1587"/>
            <a:chExt cx="12193588" cy="6859968"/>
          </a:xfrm>
        </p:grpSpPr>
        <p:sp>
          <p:nvSpPr>
            <p:cNvPr id="21" name="Oval 20"/>
            <p:cNvSpPr/>
            <p:nvPr/>
          </p:nvSpPr>
          <p:spPr>
            <a:xfrm>
              <a:off x="8761412" y="18288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Oval 22"/>
            <p:cNvSpPr/>
            <p:nvPr/>
          </p:nvSpPr>
          <p:spPr>
            <a:xfrm>
              <a:off x="8761412" y="5870955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-1588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4" name="Freeform 5"/>
            <p:cNvSpPr/>
            <p:nvPr/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27" name="Freeform 5"/>
            <p:cNvSpPr/>
            <p:nvPr/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28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</p:spTree>
    <p:extLst>
      <p:ext uri="{BB962C8B-B14F-4D97-AF65-F5344CB8AC3E}">
        <p14:creationId xmlns:p14="http://schemas.microsoft.com/office/powerpoint/2010/main" val="573707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600" b="0" i="0" kern="1200">
          <a:solidFill>
            <a:schemeClr val="bg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jp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2.png"/><Relationship Id="rId3" Type="http://schemas.openxmlformats.org/officeDocument/2006/relationships/slideLayout" Target="../slideLayouts/slideLayout5.xml"/><Relationship Id="rId7" Type="http://schemas.microsoft.com/office/2007/relationships/hdphoto" Target="../media/hdphoto2.wdp"/><Relationship Id="rId12" Type="http://schemas.microsoft.com/office/2007/relationships/hdphoto" Target="../media/hdphoto4.wdp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8.png"/><Relationship Id="rId11" Type="http://schemas.openxmlformats.org/officeDocument/2006/relationships/image" Target="../media/image21.png"/><Relationship Id="rId5" Type="http://schemas.openxmlformats.org/officeDocument/2006/relationships/image" Target="../media/image2.emf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5.bin"/><Relationship Id="rId9" Type="http://schemas.microsoft.com/office/2007/relationships/hdphoto" Target="../media/hdphoto3.wdp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slideLayout" Target="../slideLayouts/slideLayout1.xml"/><Relationship Id="rId7" Type="http://schemas.openxmlformats.org/officeDocument/2006/relationships/chart" Target="../charts/chart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chart" Target="../charts/chart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Relationship Id="rId9" Type="http://schemas.openxmlformats.org/officeDocument/2006/relationships/chart" Target="../charts/char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4.jpg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slideLayout" Target="../slideLayouts/slideLayout1.xml"/><Relationship Id="rId7" Type="http://schemas.openxmlformats.org/officeDocument/2006/relationships/chart" Target="../charts/chart9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chart" Target="../charts/char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8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jp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10" Type="http://schemas.openxmlformats.org/officeDocument/2006/relationships/chart" Target="../charts/chart3.xml"/><Relationship Id="rId4" Type="http://schemas.openxmlformats.org/officeDocument/2006/relationships/notesSlide" Target="../notesSlides/notesSlide1.xml"/><Relationship Id="rId9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.jpe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2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1.xml"/><Relationship Id="rId7" Type="http://schemas.microsoft.com/office/2007/relationships/hdphoto" Target="../media/hdphoto1.wdp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1B9649A-8A7A-434E-A9A5-447A515964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0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B1B9649A-8A7A-434E-A9A5-447A51596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6" name="Image">
            <a:extLst>
              <a:ext uri="{FF2B5EF4-FFF2-40B4-BE49-F238E27FC236}">
                <a16:creationId xmlns:a16="http://schemas.microsoft.com/office/drawing/2014/main" id="{1B7AF8F9-DEFD-40BD-99EC-ACB22FF8DD4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992FC779-CBCA-1C4F-ABBF-572EB2195FA8}"/>
              </a:ext>
            </a:extLst>
          </p:cNvPr>
          <p:cNvSpPr/>
          <p:nvPr/>
        </p:nvSpPr>
        <p:spPr>
          <a:xfrm>
            <a:off x="279840" y="1879686"/>
            <a:ext cx="6727018" cy="2800363"/>
          </a:xfrm>
          <a:prstGeom prst="rect">
            <a:avLst/>
          </a:prstGeom>
        </p:spPr>
        <p:txBody>
          <a:bodyPr wrap="square" lIns="121485" tIns="60760" rIns="121485" bIns="607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i="0" u="none" strike="noStrike" kern="1200" cap="none" spc="0" normalizeH="0" baseline="0" noProof="0" dirty="0">
                <a:ln>
                  <a:noFill/>
                </a:ln>
                <a:solidFill>
                  <a:srgbClr val="1A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ПРОЕК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sz="4400" b="1" noProof="0" dirty="0">
                <a:solidFill>
                  <a:srgbClr val="1ACCB3"/>
                </a:solidFill>
                <a:latin typeface="Century Gothic" panose="020B0502020202020204"/>
              </a:rPr>
              <a:t>ЧАСТНЫЕ ИНВЕСТИЦИИ В ВЕЧНЫЕ </a:t>
            </a:r>
            <a:r>
              <a:rPr lang="ru-RU" sz="4400" b="1" noProof="0" dirty="0" smtClean="0">
                <a:solidFill>
                  <a:srgbClr val="1ACCB3"/>
                </a:solidFill>
                <a:latin typeface="Century Gothic" panose="020B0502020202020204"/>
              </a:rPr>
              <a:t>ЦЕННОСТИ</a:t>
            </a:r>
            <a:endParaRPr lang="en-GB" sz="4400" b="1" noProof="0" dirty="0" smtClean="0">
              <a:solidFill>
                <a:srgbClr val="1ACCB3"/>
              </a:solidFill>
              <a:latin typeface="Century Gothic" panose="020B050202020202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sz="2000" dirty="0" smtClean="0">
                <a:solidFill>
                  <a:srgbClr val="1ACCB3"/>
                </a:solidFill>
                <a:latin typeface="Century Gothic" panose="020B0502020202020204"/>
              </a:rPr>
              <a:t>В рамках Национального проекта «Культура»</a:t>
            </a:r>
            <a:endParaRPr kumimoji="0" lang="ru-RU" sz="2000" i="0" u="none" strike="noStrike" kern="1200" cap="none" spc="0" normalizeH="0" baseline="0" noProof="0" dirty="0">
              <a:ln>
                <a:noFill/>
              </a:ln>
              <a:solidFill>
                <a:srgbClr val="1ACCB3"/>
              </a:solidFill>
              <a:effectLst/>
              <a:uLnTx/>
              <a:uFillTx/>
              <a:latin typeface="Century Gothic" panose="020B0502020202020204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09"/>
          <a:stretch/>
        </p:blipFill>
        <p:spPr>
          <a:xfrm>
            <a:off x="7166343" y="0"/>
            <a:ext cx="510185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079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1B9649A-8A7A-434E-A9A5-447A515964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45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B1B9649A-8A7A-434E-A9A5-447A51596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992FC779-CBCA-1C4F-ABBF-572EB2195FA8}"/>
              </a:ext>
            </a:extLst>
          </p:cNvPr>
          <p:cNvSpPr/>
          <p:nvPr/>
        </p:nvSpPr>
        <p:spPr>
          <a:xfrm>
            <a:off x="713220" y="536949"/>
            <a:ext cx="11284816" cy="855215"/>
          </a:xfrm>
          <a:prstGeom prst="rect">
            <a:avLst/>
          </a:prstGeom>
        </p:spPr>
        <p:txBody>
          <a:bodyPr wrap="square" lIns="121485" tIns="60760" rIns="121485" bIns="607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i="0" u="none" strike="noStrike" kern="1200" cap="none" spc="0" normalizeH="0" baseline="0" noProof="0" dirty="0">
                <a:ln>
                  <a:noFill/>
                </a:ln>
                <a:solidFill>
                  <a:srgbClr val="FE644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Включение объектов культуры в программы лояльности без необходимости увеличения стоимости услуги на 20% НДС</a:t>
            </a:r>
          </a:p>
        </p:txBody>
      </p:sp>
      <p:sp>
        <p:nvSpPr>
          <p:cNvPr id="27" name="Овал 26"/>
          <p:cNvSpPr/>
          <p:nvPr/>
        </p:nvSpPr>
        <p:spPr>
          <a:xfrm>
            <a:off x="122989" y="507517"/>
            <a:ext cx="573986" cy="573986"/>
          </a:xfrm>
          <a:prstGeom prst="ellipse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200" dirty="0">
                <a:solidFill>
                  <a:prstClr val="white">
                    <a:lumMod val="75000"/>
                  </a:prstClr>
                </a:solidFill>
                <a:latin typeface="Century Gothic" panose="020B0502020202020204"/>
              </a:rPr>
              <a:t>5</a:t>
            </a: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1097771" y="1663700"/>
            <a:ext cx="1561368" cy="965200"/>
          </a:xfrm>
          <a:prstGeom prst="round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БАНК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487019" y="1663700"/>
            <a:ext cx="1708832" cy="965200"/>
          </a:xfrm>
          <a:prstGeom prst="round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>
                <a:solidFill>
                  <a:prstClr val="white"/>
                </a:solidFill>
                <a:latin typeface="Century Gothic" panose="020B0502020202020204"/>
              </a:rPr>
              <a:t>ОПЕРАТОР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6027123" y="1689100"/>
            <a:ext cx="1708832" cy="965200"/>
          </a:xfrm>
          <a:prstGeom prst="round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ФИЗ. ЛИЦО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3090485" y="3443418"/>
            <a:ext cx="2501900" cy="965200"/>
          </a:xfrm>
          <a:prstGeom prst="roundRect">
            <a:avLst/>
          </a:prstGeom>
          <a:solidFill>
            <a:srgbClr val="1BCCB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МУЗЕЙ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grpSp>
        <p:nvGrpSpPr>
          <p:cNvPr id="15" name="Group 188">
            <a:extLst>
              <a:ext uri="{FF2B5EF4-FFF2-40B4-BE49-F238E27FC236}">
                <a16:creationId xmlns:a16="http://schemas.microsoft.com/office/drawing/2014/main" id="{CF6FD25F-0ED6-49B4-B066-7AE44DD5C32B}"/>
              </a:ext>
            </a:extLst>
          </p:cNvPr>
          <p:cNvGrpSpPr>
            <a:grpSpLocks/>
          </p:cNvGrpSpPr>
          <p:nvPr/>
        </p:nvGrpSpPr>
        <p:grpSpPr>
          <a:xfrm>
            <a:off x="2760516" y="2032934"/>
            <a:ext cx="674026" cy="277532"/>
            <a:chOff x="2285041" y="2661166"/>
            <a:chExt cx="462398" cy="208514"/>
          </a:xfrm>
          <a:solidFill>
            <a:schemeClr val="accent1">
              <a:lumMod val="25000"/>
            </a:schemeClr>
          </a:solidFill>
        </p:grpSpPr>
        <p:sp>
          <p:nvSpPr>
            <p:cNvPr id="16" name="Rectangle: Rounded Corners 189">
              <a:extLst>
                <a:ext uri="{FF2B5EF4-FFF2-40B4-BE49-F238E27FC236}">
                  <a16:creationId xmlns:a16="http://schemas.microsoft.com/office/drawing/2014/main" id="{3B19A51F-DF9F-429F-A57E-9C73439D39C8}"/>
                </a:ext>
              </a:extLst>
            </p:cNvPr>
            <p:cNvSpPr/>
            <p:nvPr/>
          </p:nvSpPr>
          <p:spPr>
            <a:xfrm>
              <a:off x="2285041" y="2661166"/>
              <a:ext cx="462398" cy="208514"/>
            </a:xfrm>
            <a:prstGeom prst="roundRect">
              <a:avLst>
                <a:gd name="adj" fmla="val 50000"/>
              </a:avLst>
            </a:prstGeom>
            <a:solidFill>
              <a:srgbClr val="1BCCB3"/>
            </a:solidFill>
            <a:ln w="6350" cap="sq">
              <a:solidFill>
                <a:schemeClr val="tx1"/>
              </a:solidFill>
              <a:miter lim="800000"/>
            </a:ln>
            <a:effectLst>
              <a:outerShdw blurRad="152400" dist="50800" dir="54000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cxnSp>
          <p:nvCxnSpPr>
            <p:cNvPr id="17" name="Straight Arrow Connector 190">
              <a:extLst>
                <a:ext uri="{FF2B5EF4-FFF2-40B4-BE49-F238E27FC236}">
                  <a16:creationId xmlns:a16="http://schemas.microsoft.com/office/drawing/2014/main" id="{A142CF75-0A1D-4EB5-B700-47D8AE198522}"/>
                </a:ext>
              </a:extLst>
            </p:cNvPr>
            <p:cNvCxnSpPr/>
            <p:nvPr/>
          </p:nvCxnSpPr>
          <p:spPr>
            <a:xfrm flipH="1">
              <a:off x="2376299" y="2765423"/>
              <a:ext cx="279882" cy="0"/>
            </a:xfrm>
            <a:prstGeom prst="straightConnector1">
              <a:avLst/>
            </a:prstGeom>
            <a:grpFill/>
            <a:ln w="12700" cap="sq">
              <a:solidFill>
                <a:schemeClr val="tx1"/>
              </a:solidFill>
              <a:miter lim="800000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188">
            <a:extLst>
              <a:ext uri="{FF2B5EF4-FFF2-40B4-BE49-F238E27FC236}">
                <a16:creationId xmlns:a16="http://schemas.microsoft.com/office/drawing/2014/main" id="{CF6FD25F-0ED6-49B4-B066-7AE44DD5C32B}"/>
              </a:ext>
            </a:extLst>
          </p:cNvPr>
          <p:cNvGrpSpPr>
            <a:grpSpLocks/>
          </p:cNvGrpSpPr>
          <p:nvPr/>
        </p:nvGrpSpPr>
        <p:grpSpPr>
          <a:xfrm>
            <a:off x="5264203" y="2057400"/>
            <a:ext cx="674026" cy="277532"/>
            <a:chOff x="2285041" y="2661166"/>
            <a:chExt cx="462398" cy="208514"/>
          </a:xfrm>
          <a:solidFill>
            <a:schemeClr val="accent1">
              <a:lumMod val="25000"/>
            </a:schemeClr>
          </a:solidFill>
        </p:grpSpPr>
        <p:sp>
          <p:nvSpPr>
            <p:cNvPr id="22" name="Rectangle: Rounded Corners 189">
              <a:extLst>
                <a:ext uri="{FF2B5EF4-FFF2-40B4-BE49-F238E27FC236}">
                  <a16:creationId xmlns:a16="http://schemas.microsoft.com/office/drawing/2014/main" id="{3B19A51F-DF9F-429F-A57E-9C73439D39C8}"/>
                </a:ext>
              </a:extLst>
            </p:cNvPr>
            <p:cNvSpPr/>
            <p:nvPr/>
          </p:nvSpPr>
          <p:spPr>
            <a:xfrm>
              <a:off x="2285041" y="2661166"/>
              <a:ext cx="462398" cy="208514"/>
            </a:xfrm>
            <a:prstGeom prst="roundRect">
              <a:avLst>
                <a:gd name="adj" fmla="val 50000"/>
              </a:avLst>
            </a:prstGeom>
            <a:solidFill>
              <a:srgbClr val="1BCCB3"/>
            </a:solidFill>
            <a:ln w="6350" cap="sq">
              <a:solidFill>
                <a:schemeClr val="tx1"/>
              </a:solidFill>
              <a:miter lim="800000"/>
            </a:ln>
            <a:effectLst>
              <a:outerShdw blurRad="152400" dist="50800" dir="54000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cxnSp>
          <p:nvCxnSpPr>
            <p:cNvPr id="23" name="Straight Arrow Connector 190">
              <a:extLst>
                <a:ext uri="{FF2B5EF4-FFF2-40B4-BE49-F238E27FC236}">
                  <a16:creationId xmlns:a16="http://schemas.microsoft.com/office/drawing/2014/main" id="{A142CF75-0A1D-4EB5-B700-47D8AE198522}"/>
                </a:ext>
              </a:extLst>
            </p:cNvPr>
            <p:cNvCxnSpPr/>
            <p:nvPr/>
          </p:nvCxnSpPr>
          <p:spPr>
            <a:xfrm flipH="1">
              <a:off x="2376299" y="2765423"/>
              <a:ext cx="279882" cy="0"/>
            </a:xfrm>
            <a:prstGeom prst="straightConnector1">
              <a:avLst/>
            </a:prstGeom>
            <a:grpFill/>
            <a:ln w="12700" cap="sq">
              <a:solidFill>
                <a:schemeClr val="tx1"/>
              </a:solidFill>
              <a:miter lim="800000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188">
            <a:extLst>
              <a:ext uri="{FF2B5EF4-FFF2-40B4-BE49-F238E27FC236}">
                <a16:creationId xmlns:a16="http://schemas.microsoft.com/office/drawing/2014/main" id="{CF6FD25F-0ED6-49B4-B066-7AE44DD5C32B}"/>
              </a:ext>
            </a:extLst>
          </p:cNvPr>
          <p:cNvGrpSpPr>
            <a:grpSpLocks/>
          </p:cNvGrpSpPr>
          <p:nvPr/>
        </p:nvGrpSpPr>
        <p:grpSpPr>
          <a:xfrm rot="5400000">
            <a:off x="3970721" y="2897393"/>
            <a:ext cx="741429" cy="277532"/>
            <a:chOff x="2285041" y="2661166"/>
            <a:chExt cx="462398" cy="208514"/>
          </a:xfrm>
          <a:solidFill>
            <a:schemeClr val="accent1">
              <a:lumMod val="25000"/>
            </a:schemeClr>
          </a:solidFill>
        </p:grpSpPr>
        <p:sp>
          <p:nvSpPr>
            <p:cNvPr id="25" name="Rectangle: Rounded Corners 189">
              <a:extLst>
                <a:ext uri="{FF2B5EF4-FFF2-40B4-BE49-F238E27FC236}">
                  <a16:creationId xmlns:a16="http://schemas.microsoft.com/office/drawing/2014/main" id="{3B19A51F-DF9F-429F-A57E-9C73439D39C8}"/>
                </a:ext>
              </a:extLst>
            </p:cNvPr>
            <p:cNvSpPr/>
            <p:nvPr/>
          </p:nvSpPr>
          <p:spPr>
            <a:xfrm>
              <a:off x="2285041" y="2661166"/>
              <a:ext cx="462398" cy="208514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 w="6350" cap="sq">
              <a:solidFill>
                <a:schemeClr val="tx1"/>
              </a:solidFill>
              <a:miter lim="800000"/>
            </a:ln>
            <a:effectLst>
              <a:outerShdw blurRad="152400" dist="50800" dir="54000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cxnSp>
          <p:nvCxnSpPr>
            <p:cNvPr id="26" name="Straight Arrow Connector 190">
              <a:extLst>
                <a:ext uri="{FF2B5EF4-FFF2-40B4-BE49-F238E27FC236}">
                  <a16:creationId xmlns:a16="http://schemas.microsoft.com/office/drawing/2014/main" id="{A142CF75-0A1D-4EB5-B700-47D8AE198522}"/>
                </a:ext>
              </a:extLst>
            </p:cNvPr>
            <p:cNvCxnSpPr/>
            <p:nvPr/>
          </p:nvCxnSpPr>
          <p:spPr>
            <a:xfrm flipH="1">
              <a:off x="2376299" y="2765423"/>
              <a:ext cx="279882" cy="0"/>
            </a:xfrm>
            <a:prstGeom prst="straightConnector1">
              <a:avLst/>
            </a:prstGeom>
            <a:grpFill/>
            <a:ln w="12700" cap="sq">
              <a:solidFill>
                <a:schemeClr val="tx1"/>
              </a:solidFill>
              <a:miter lim="800000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Box 6"/>
          <p:cNvSpPr txBox="1"/>
          <p:nvPr/>
        </p:nvSpPr>
        <p:spPr>
          <a:xfrm>
            <a:off x="1113617" y="2766732"/>
            <a:ext cx="29845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EA6312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НДС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175070" y="3071569"/>
            <a:ext cx="527034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Расчет потенциальной стоимости НДС – </a:t>
            </a:r>
            <a:r>
              <a:rPr lang="ru-RU" sz="2400" b="1" dirty="0" smtClean="0">
                <a:solidFill>
                  <a:srgbClr val="1BCCB3"/>
                </a:solidFill>
                <a:latin typeface="Century Gothic" panose="020B0502020202020204"/>
              </a:rPr>
              <a:t>48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млн</a:t>
            </a:r>
            <a:r>
              <a:rPr kumimoji="0" lang="ru-RU" sz="2400" b="1" i="0" u="none" strike="noStrike" kern="1200" cap="none" spc="0" normalizeH="0" noProof="0" dirty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руб.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 = </a:t>
            </a:r>
          </a:p>
          <a:p>
            <a:pPr lvl="0"/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</a:rPr>
              <a:t>Объем бонусов Спасибо </a:t>
            </a:r>
            <a:r>
              <a:rPr lang="ru-RU" dirty="0">
                <a:solidFill>
                  <a:prstClr val="white"/>
                </a:solidFill>
                <a:latin typeface="Century Gothic" panose="020B0502020202020204"/>
              </a:rPr>
              <a:t>* </a:t>
            </a:r>
            <a:r>
              <a:rPr lang="ru-RU" dirty="0">
                <a:solidFill>
                  <a:prstClr val="white"/>
                </a:solidFill>
              </a:rPr>
              <a:t>1</a:t>
            </a:r>
            <a:r>
              <a:rPr lang="ru-RU" dirty="0" smtClean="0">
                <a:solidFill>
                  <a:prstClr val="white"/>
                </a:solidFill>
              </a:rPr>
              <a:t>% * 20%</a:t>
            </a:r>
            <a:r>
              <a:rPr lang="ru-RU" sz="3200" dirty="0" smtClean="0">
                <a:solidFill>
                  <a:prstClr val="white"/>
                </a:solidFill>
              </a:rPr>
              <a:t>      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24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млрд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рублей</a:t>
            </a: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D504B14B-E722-4D56-8AC8-0C594C3B82C0}"/>
              </a:ext>
            </a:extLst>
          </p:cNvPr>
          <p:cNvCxnSpPr>
            <a:cxnSpLocks/>
            <a:stCxn id="30" idx="6"/>
            <a:endCxn id="34" idx="2"/>
          </p:cNvCxnSpPr>
          <p:nvPr/>
        </p:nvCxnSpPr>
        <p:spPr>
          <a:xfrm flipV="1">
            <a:off x="2078213" y="5934033"/>
            <a:ext cx="2048700" cy="6732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160BEFA9-2855-49A4-AA93-1BBDDB1B3D8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5624" y="5747046"/>
            <a:ext cx="369978" cy="369978"/>
          </a:xfrm>
          <a:prstGeom prst="rect">
            <a:avLst/>
          </a:prstGeom>
          <a:noFill/>
        </p:spPr>
      </p:pic>
      <p:sp>
        <p:nvSpPr>
          <p:cNvPr id="30" name="Овал 29">
            <a:extLst>
              <a:ext uri="{FF2B5EF4-FFF2-40B4-BE49-F238E27FC236}">
                <a16:creationId xmlns:a16="http://schemas.microsoft.com/office/drawing/2014/main" id="{F725C6B7-0B1E-4BD8-964A-2EE051D806FC}"/>
              </a:ext>
            </a:extLst>
          </p:cNvPr>
          <p:cNvSpPr/>
          <p:nvPr/>
        </p:nvSpPr>
        <p:spPr>
          <a:xfrm>
            <a:off x="1610213" y="5706765"/>
            <a:ext cx="468000" cy="468000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595141DA-59EC-4AA6-8FD4-2D7CA678C42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1482" y="5728253"/>
            <a:ext cx="373779" cy="373779"/>
          </a:xfrm>
          <a:prstGeom prst="rect">
            <a:avLst/>
          </a:prstGeom>
          <a:noFill/>
        </p:spPr>
      </p:pic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75FA5BFF-A8E5-442E-A844-5E1D4F08135E}"/>
              </a:ext>
            </a:extLst>
          </p:cNvPr>
          <p:cNvSpPr/>
          <p:nvPr/>
        </p:nvSpPr>
        <p:spPr>
          <a:xfrm>
            <a:off x="1322773" y="6195365"/>
            <a:ext cx="1043469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Участник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841C71DD-9BCF-413A-BC88-1C9A1736FA1E}"/>
              </a:ext>
            </a:extLst>
          </p:cNvPr>
          <p:cNvSpPr/>
          <p:nvPr/>
        </p:nvSpPr>
        <p:spPr>
          <a:xfrm>
            <a:off x="2289273" y="6195365"/>
            <a:ext cx="1393889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Покупка по карте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Arial" charset="0"/>
              <a:cs typeface="Arial" charset="0"/>
            </a:endParaRPr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D34D826A-ACEC-46B7-B645-48E67EBBC71E}"/>
              </a:ext>
            </a:extLst>
          </p:cNvPr>
          <p:cNvSpPr/>
          <p:nvPr/>
        </p:nvSpPr>
        <p:spPr>
          <a:xfrm>
            <a:off x="4126913" y="5700033"/>
            <a:ext cx="468000" cy="468000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71EEC26C-04EB-4194-8046-6B2CEFBABA89}"/>
              </a:ext>
            </a:extLst>
          </p:cNvPr>
          <p:cNvSpPr/>
          <p:nvPr/>
        </p:nvSpPr>
        <p:spPr>
          <a:xfrm>
            <a:off x="3705708" y="6193942"/>
            <a:ext cx="1279108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Торговая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Arial" charset="0"/>
                <a:cs typeface="Arial" charset="0"/>
              </a:rPr>
              <a:t>точка</a:t>
            </a:r>
          </a:p>
        </p:txBody>
      </p: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EE222042-9A57-4A15-B929-C5315B6DF0F2}"/>
              </a:ext>
            </a:extLst>
          </p:cNvPr>
          <p:cNvGrpSpPr/>
          <p:nvPr/>
        </p:nvGrpSpPr>
        <p:grpSpPr>
          <a:xfrm>
            <a:off x="5413607" y="5704217"/>
            <a:ext cx="468000" cy="468000"/>
            <a:chOff x="514459" y="4476424"/>
            <a:chExt cx="468000" cy="468000"/>
          </a:xfrm>
        </p:grpSpPr>
        <p:sp>
          <p:nvSpPr>
            <p:cNvPr id="37" name="Овал 36">
              <a:extLst>
                <a:ext uri="{FF2B5EF4-FFF2-40B4-BE49-F238E27FC236}">
                  <a16:creationId xmlns:a16="http://schemas.microsoft.com/office/drawing/2014/main" id="{14B9A322-512F-47DF-BBD4-F4D588E7B339}"/>
                </a:ext>
              </a:extLst>
            </p:cNvPr>
            <p:cNvSpPr/>
            <p:nvPr/>
          </p:nvSpPr>
          <p:spPr>
            <a:xfrm>
              <a:off x="514459" y="4476424"/>
              <a:ext cx="468000" cy="468000"/>
            </a:xfrm>
            <a:prstGeom prst="ellipse">
              <a:avLst/>
            </a:prstGeom>
            <a:solidFill>
              <a:srgbClr val="2BD6A6"/>
            </a:solidFill>
            <a:ln>
              <a:solidFill>
                <a:srgbClr val="2BD6A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pic>
          <p:nvPicPr>
            <p:cNvPr id="38" name="Рисунок 37">
              <a:extLst>
                <a:ext uri="{FF2B5EF4-FFF2-40B4-BE49-F238E27FC236}">
                  <a16:creationId xmlns:a16="http://schemas.microsoft.com/office/drawing/2014/main" id="{397ABF59-9EED-412A-9A52-E1FC4FD6EF6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7946" y="4525435"/>
              <a:ext cx="369978" cy="369978"/>
            </a:xfrm>
            <a:prstGeom prst="rect">
              <a:avLst/>
            </a:prstGeom>
            <a:noFill/>
          </p:spPr>
        </p:pic>
      </p:grpSp>
      <p:sp>
        <p:nvSpPr>
          <p:cNvPr id="39" name="Заголовок 8">
            <a:extLst>
              <a:ext uri="{FF2B5EF4-FFF2-40B4-BE49-F238E27FC236}">
                <a16:creationId xmlns:a16="http://schemas.microsoft.com/office/drawing/2014/main" id="{AD8F3858-EF14-456D-9C02-FA95A6ACB88A}"/>
              </a:ext>
            </a:extLst>
          </p:cNvPr>
          <p:cNvSpPr txBox="1">
            <a:spLocks/>
          </p:cNvSpPr>
          <p:nvPr/>
        </p:nvSpPr>
        <p:spPr>
          <a:xfrm>
            <a:off x="5652083" y="5132475"/>
            <a:ext cx="3560654" cy="6977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Bebas Neue Book" pitchFamily="2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для партнера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1 бонус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= 1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,0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 руб.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в т.ч. НДС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3847FCB6-0D02-4799-A111-C54933CDA23C}"/>
              </a:ext>
            </a:extLst>
          </p:cNvPr>
          <p:cNvSpPr/>
          <p:nvPr/>
        </p:nvSpPr>
        <p:spPr>
          <a:xfrm>
            <a:off x="4970565" y="6214522"/>
            <a:ext cx="1428322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Партнер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Arial" charset="0"/>
              <a:cs typeface="Arial" charset="0"/>
            </a:endParaRP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84E9D34A-68B1-49BD-9DF9-EFB11B284589}"/>
              </a:ext>
            </a:extLst>
          </p:cNvPr>
          <p:cNvGrpSpPr/>
          <p:nvPr/>
        </p:nvGrpSpPr>
        <p:grpSpPr>
          <a:xfrm>
            <a:off x="8971770" y="5700033"/>
            <a:ext cx="468000" cy="469608"/>
            <a:chOff x="7342015" y="1603968"/>
            <a:chExt cx="896891" cy="899973"/>
          </a:xfrm>
        </p:grpSpPr>
        <p:sp>
          <p:nvSpPr>
            <p:cNvPr id="42" name="Прямоугольник 41">
              <a:extLst>
                <a:ext uri="{FF2B5EF4-FFF2-40B4-BE49-F238E27FC236}">
                  <a16:creationId xmlns:a16="http://schemas.microsoft.com/office/drawing/2014/main" id="{B6DD50B2-0552-4D26-9523-22E7080DCB97}"/>
                </a:ext>
              </a:extLst>
            </p:cNvPr>
            <p:cNvSpPr/>
            <p:nvPr/>
          </p:nvSpPr>
          <p:spPr>
            <a:xfrm>
              <a:off x="7529653" y="1770725"/>
              <a:ext cx="533686" cy="5336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pic>
          <p:nvPicPr>
            <p:cNvPr id="43" name="Рисунок 42">
              <a:extLst>
                <a:ext uri="{FF2B5EF4-FFF2-40B4-BE49-F238E27FC236}">
                  <a16:creationId xmlns:a16="http://schemas.microsoft.com/office/drawing/2014/main" id="{64DEF4AB-4E47-444E-8D4B-FFA042D2820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4110" b="92466" l="344" r="95876">
                          <a14:foregroundMark x1="10309" y1="26027" x2="9622" y2="39041"/>
                          <a14:foregroundMark x1="5498" y1="36986" x2="3925" y2="48630"/>
                          <a14:foregroundMark x1="5498" y1="94178" x2="43986" y2="92808"/>
                          <a14:foregroundMark x1="43986" y1="92808" x2="57045" y2="92808"/>
                          <a14:foregroundMark x1="25430" y1="90753" x2="65636" y2="87671"/>
                          <a14:foregroundMark x1="65636" y1="87671" x2="68041" y2="85959"/>
                          <a14:foregroundMark x1="54983" y1="91438" x2="81100" y2="75342"/>
                          <a14:foregroundMark x1="77663" y1="69178" x2="93127" y2="50000"/>
                          <a14:foregroundMark x1="65979" y1="18493" x2="57045" y2="7534"/>
                          <a14:foregroundMark x1="54983" y1="7534" x2="51546" y2="4110"/>
                          <a14:foregroundMark x1="91753" y1="52055" x2="95876" y2="52055"/>
                          <a14:backgroundMark x1="0" y1="58219" x2="0" y2="58219"/>
                          <a14:backgroundMark x1="0" y1="59589" x2="0" y2="62329"/>
                          <a14:backgroundMark x1="0" y1="63699" x2="0" y2="74658"/>
                          <a14:backgroundMark x1="687" y1="67123" x2="2062" y2="48630"/>
                          <a14:backgroundMark x1="2749" y1="48630" x2="2749" y2="69178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342015" y="1603968"/>
              <a:ext cx="896891" cy="899973"/>
            </a:xfrm>
            <a:prstGeom prst="rect">
              <a:avLst/>
            </a:prstGeom>
          </p:spPr>
        </p:pic>
      </p:grpSp>
      <p:cxnSp>
        <p:nvCxnSpPr>
          <p:cNvPr id="44" name="Скругленная соединительная линия 77">
            <a:extLst>
              <a:ext uri="{FF2B5EF4-FFF2-40B4-BE49-F238E27FC236}">
                <a16:creationId xmlns:a16="http://schemas.microsoft.com/office/drawing/2014/main" id="{0DA5D3A6-7E37-42E1-9F88-71024BBC19E1}"/>
              </a:ext>
            </a:extLst>
          </p:cNvPr>
          <p:cNvCxnSpPr>
            <a:cxnSpLocks/>
            <a:stCxn id="34" idx="6"/>
            <a:endCxn id="37" idx="2"/>
          </p:cNvCxnSpPr>
          <p:nvPr/>
        </p:nvCxnSpPr>
        <p:spPr>
          <a:xfrm>
            <a:off x="4594913" y="5934033"/>
            <a:ext cx="818694" cy="4184"/>
          </a:xfrm>
          <a:prstGeom prst="curved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  <a:prstDash val="dash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Скругленная соединительная линия 77">
            <a:extLst>
              <a:ext uri="{FF2B5EF4-FFF2-40B4-BE49-F238E27FC236}">
                <a16:creationId xmlns:a16="http://schemas.microsoft.com/office/drawing/2014/main" id="{E802A25D-814F-4878-AAB1-4B516D7D4628}"/>
              </a:ext>
            </a:extLst>
          </p:cNvPr>
          <p:cNvCxnSpPr>
            <a:cxnSpLocks/>
            <a:stCxn id="37" idx="6"/>
            <a:endCxn id="43" idx="1"/>
          </p:cNvCxnSpPr>
          <p:nvPr/>
        </p:nvCxnSpPr>
        <p:spPr>
          <a:xfrm flipV="1">
            <a:off x="5881607" y="5934837"/>
            <a:ext cx="3090163" cy="3380"/>
          </a:xfrm>
          <a:prstGeom prst="curvedConnector3">
            <a:avLst>
              <a:gd name="adj1" fmla="val 50000"/>
            </a:avLst>
          </a:prstGeom>
          <a:ln w="12700">
            <a:solidFill>
              <a:srgbClr val="00B050"/>
            </a:solidFill>
            <a:prstDash val="dash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CF165E02-CCED-4B92-8C85-A87B217183F9}"/>
              </a:ext>
            </a:extLst>
          </p:cNvPr>
          <p:cNvSpPr/>
          <p:nvPr/>
        </p:nvSpPr>
        <p:spPr>
          <a:xfrm>
            <a:off x="2779400" y="5801713"/>
            <a:ext cx="504394" cy="260644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476FC51E-1A57-4C23-80A2-1C73E90DED04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5497" y="5579270"/>
            <a:ext cx="728389" cy="728389"/>
          </a:xfrm>
          <a:prstGeom prst="rect">
            <a:avLst/>
          </a:prstGeom>
          <a:noFill/>
        </p:spPr>
      </p:pic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CB3E4EBF-A200-4AB0-8692-FF3F0B64ADAC}"/>
              </a:ext>
            </a:extLst>
          </p:cNvPr>
          <p:cNvSpPr/>
          <p:nvPr/>
        </p:nvSpPr>
        <p:spPr>
          <a:xfrm>
            <a:off x="8783083" y="6196838"/>
            <a:ext cx="845374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ЦПЛ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Arial" charset="0"/>
              <a:cs typeface="Arial" charset="0"/>
            </a:endParaRPr>
          </a:p>
        </p:txBody>
      </p:sp>
      <p:sp>
        <p:nvSpPr>
          <p:cNvPr id="50" name="Заголовок 8">
            <a:extLst>
              <a:ext uri="{FF2B5EF4-FFF2-40B4-BE49-F238E27FC236}">
                <a16:creationId xmlns:a16="http://schemas.microsoft.com/office/drawing/2014/main" id="{B7D98C6E-D7BD-41F7-9251-56BBBDBDBE12}"/>
              </a:ext>
            </a:extLst>
          </p:cNvPr>
          <p:cNvSpPr txBox="1">
            <a:spLocks/>
          </p:cNvSpPr>
          <p:nvPr/>
        </p:nvSpPr>
        <p:spPr>
          <a:xfrm>
            <a:off x="1322773" y="4718959"/>
            <a:ext cx="6077659" cy="502062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Bebas Neue Book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4AAC1"/>
                </a:solidFill>
                <a:effectLst/>
                <a:uLnTx/>
                <a:uFillTx/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Бонусы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9253561" y="4254278"/>
            <a:ext cx="9557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solidFill>
                  <a:schemeClr val="bg1">
                    <a:lumMod val="65000"/>
                  </a:schemeClr>
                </a:solidFill>
              </a:rPr>
              <a:t>условный </a:t>
            </a:r>
          </a:p>
          <a:p>
            <a:r>
              <a:rPr lang="ru-RU" sz="1200" dirty="0">
                <a:solidFill>
                  <a:schemeClr val="bg1">
                    <a:lumMod val="65000"/>
                  </a:schemeClr>
                </a:solidFill>
              </a:rPr>
              <a:t>отклик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0456642" y="4019813"/>
            <a:ext cx="111921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 smtClean="0">
                <a:solidFill>
                  <a:schemeClr val="bg1">
                    <a:lumMod val="65000"/>
                  </a:schemeClr>
                </a:solidFill>
              </a:rPr>
              <a:t>Ставка НДС</a:t>
            </a:r>
            <a:endParaRPr lang="ru-RU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800428" y="94022"/>
            <a:ext cx="1907843" cy="40011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rgbClr val="FE644E"/>
                </a:solidFill>
              </a:rPr>
              <a:t>ВНЕ ПРОЕКТА</a:t>
            </a:r>
            <a:endParaRPr lang="ru-RU" sz="2000" dirty="0">
              <a:solidFill>
                <a:srgbClr val="FE644E"/>
              </a:solidFill>
            </a:endParaRPr>
          </a:p>
        </p:txBody>
      </p:sp>
      <p:sp>
        <p:nvSpPr>
          <p:cNvPr id="5" name="Овал 4"/>
          <p:cNvSpPr/>
          <p:nvPr/>
        </p:nvSpPr>
        <p:spPr>
          <a:xfrm>
            <a:off x="7882732" y="5468167"/>
            <a:ext cx="1421914" cy="355359"/>
          </a:xfrm>
          <a:prstGeom prst="ellipse">
            <a:avLst/>
          </a:prstGeom>
          <a:noFill/>
          <a:ln w="571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8141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464340" y="2941420"/>
            <a:ext cx="2353691" cy="1431161"/>
          </a:xfrm>
          <a:prstGeom prst="rect">
            <a:avLst/>
          </a:prstGeom>
          <a:solidFill>
            <a:srgbClr val="1BCCB3">
              <a:alpha val="10000"/>
            </a:srgbClr>
          </a:solidFill>
        </p:spPr>
        <p:txBody>
          <a:bodyPr wrap="square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ru-RU" dirty="0">
                <a:solidFill>
                  <a:schemeClr val="bg1"/>
                </a:solidFill>
              </a:rPr>
              <a:t>Является необходимой для реализации всех остальных задач</a:t>
            </a:r>
          </a:p>
        </p:txBody>
      </p:sp>
      <p:sp>
        <p:nvSpPr>
          <p:cNvPr id="8" name="Rounded Rectangle 8">
            <a:extLst>
              <a:ext uri="{FF2B5EF4-FFF2-40B4-BE49-F238E27FC236}">
                <a16:creationId xmlns:a16="http://schemas.microsoft.com/office/drawing/2014/main" id="{C7B57B69-F8FE-4A19-A7DE-6F7A380F8454}"/>
              </a:ext>
            </a:extLst>
          </p:cNvPr>
          <p:cNvSpPr/>
          <p:nvPr/>
        </p:nvSpPr>
        <p:spPr>
          <a:xfrm rot="10800000">
            <a:off x="3343640" y="1072840"/>
            <a:ext cx="2412000" cy="1555390"/>
          </a:xfrm>
          <a:custGeom>
            <a:avLst/>
            <a:gdLst/>
            <a:ahLst/>
            <a:cxnLst/>
            <a:rect l="l" t="t" r="r" b="b"/>
            <a:pathLst>
              <a:path w="1260140" h="1872209">
                <a:moveTo>
                  <a:pt x="630071" y="0"/>
                </a:moveTo>
                <a:lnTo>
                  <a:pt x="799749" y="292548"/>
                </a:lnTo>
                <a:lnTo>
                  <a:pt x="1107260" y="292548"/>
                </a:lnTo>
                <a:cubicBezTo>
                  <a:pt x="1191693" y="292548"/>
                  <a:pt x="1260140" y="360995"/>
                  <a:pt x="1260140" y="445428"/>
                </a:cubicBezTo>
                <a:lnTo>
                  <a:pt x="1260140" y="1719329"/>
                </a:lnTo>
                <a:cubicBezTo>
                  <a:pt x="1260140" y="1803762"/>
                  <a:pt x="1191693" y="1872209"/>
                  <a:pt x="1107260" y="1872209"/>
                </a:cubicBezTo>
                <a:lnTo>
                  <a:pt x="152880" y="1872209"/>
                </a:lnTo>
                <a:cubicBezTo>
                  <a:pt x="68447" y="1872209"/>
                  <a:pt x="0" y="1803762"/>
                  <a:pt x="0" y="1719329"/>
                </a:cubicBezTo>
                <a:lnTo>
                  <a:pt x="0" y="445428"/>
                </a:lnTo>
                <a:cubicBezTo>
                  <a:pt x="0" y="360995"/>
                  <a:pt x="68447" y="292548"/>
                  <a:pt x="152880" y="292548"/>
                </a:cubicBezTo>
                <a:lnTo>
                  <a:pt x="460393" y="292548"/>
                </a:lnTo>
                <a:close/>
              </a:path>
            </a:pathLst>
          </a:custGeom>
          <a:noFill/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405283" y="1186740"/>
            <a:ext cx="241444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Создание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единого портала объектов культуры для потенциальных инвесторов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BCCB3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534541" y="1129779"/>
            <a:ext cx="324000" cy="324000"/>
          </a:xfrm>
          <a:prstGeom prst="ellipse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</a:t>
            </a:r>
          </a:p>
        </p:txBody>
      </p:sp>
      <p:sp>
        <p:nvSpPr>
          <p:cNvPr id="11" name="Овал 10"/>
          <p:cNvSpPr/>
          <p:nvPr/>
        </p:nvSpPr>
        <p:spPr>
          <a:xfrm>
            <a:off x="6392530" y="1129779"/>
            <a:ext cx="324000" cy="324000"/>
          </a:xfrm>
          <a:prstGeom prst="ellipse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3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9360250" y="1129779"/>
            <a:ext cx="324000" cy="324000"/>
          </a:xfrm>
          <a:prstGeom prst="ellipse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4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3" name="Rounded Rectangle 8">
            <a:extLst>
              <a:ext uri="{FF2B5EF4-FFF2-40B4-BE49-F238E27FC236}">
                <a16:creationId xmlns:a16="http://schemas.microsoft.com/office/drawing/2014/main" id="{C7B57B69-F8FE-4A19-A7DE-6F7A380F8454}"/>
              </a:ext>
            </a:extLst>
          </p:cNvPr>
          <p:cNvSpPr/>
          <p:nvPr/>
        </p:nvSpPr>
        <p:spPr>
          <a:xfrm rot="10800000">
            <a:off x="406032" y="1054249"/>
            <a:ext cx="2412000" cy="1555390"/>
          </a:xfrm>
          <a:custGeom>
            <a:avLst/>
            <a:gdLst/>
            <a:ahLst/>
            <a:cxnLst/>
            <a:rect l="l" t="t" r="r" b="b"/>
            <a:pathLst>
              <a:path w="1260140" h="1872209">
                <a:moveTo>
                  <a:pt x="630071" y="0"/>
                </a:moveTo>
                <a:lnTo>
                  <a:pt x="799749" y="292548"/>
                </a:lnTo>
                <a:lnTo>
                  <a:pt x="1107260" y="292548"/>
                </a:lnTo>
                <a:cubicBezTo>
                  <a:pt x="1191693" y="292548"/>
                  <a:pt x="1260140" y="360995"/>
                  <a:pt x="1260140" y="445428"/>
                </a:cubicBezTo>
                <a:lnTo>
                  <a:pt x="1260140" y="1719329"/>
                </a:lnTo>
                <a:cubicBezTo>
                  <a:pt x="1260140" y="1803762"/>
                  <a:pt x="1191693" y="1872209"/>
                  <a:pt x="1107260" y="1872209"/>
                </a:cubicBezTo>
                <a:lnTo>
                  <a:pt x="152880" y="1872209"/>
                </a:lnTo>
                <a:cubicBezTo>
                  <a:pt x="68447" y="1872209"/>
                  <a:pt x="0" y="1803762"/>
                  <a:pt x="0" y="1719329"/>
                </a:cubicBezTo>
                <a:lnTo>
                  <a:pt x="0" y="445428"/>
                </a:lnTo>
                <a:cubicBezTo>
                  <a:pt x="0" y="360995"/>
                  <a:pt x="68447" y="292548"/>
                  <a:pt x="152880" y="292548"/>
                </a:cubicBezTo>
                <a:lnTo>
                  <a:pt x="460393" y="292548"/>
                </a:lnTo>
                <a:close/>
              </a:path>
            </a:pathLst>
          </a:custGeom>
          <a:noFill/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80910" y="1184612"/>
            <a:ext cx="243712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Создание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государственного оператора частных инвестиций в культуру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BCCB3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3417761" y="1129779"/>
            <a:ext cx="324000" cy="324000"/>
          </a:xfrm>
          <a:prstGeom prst="ellipse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2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6" name="Rounded Rectangle 8">
            <a:extLst>
              <a:ext uri="{FF2B5EF4-FFF2-40B4-BE49-F238E27FC236}">
                <a16:creationId xmlns:a16="http://schemas.microsoft.com/office/drawing/2014/main" id="{C7B57B69-F8FE-4A19-A7DE-6F7A380F8454}"/>
              </a:ext>
            </a:extLst>
          </p:cNvPr>
          <p:cNvSpPr/>
          <p:nvPr/>
        </p:nvSpPr>
        <p:spPr>
          <a:xfrm rot="10800000">
            <a:off x="6281248" y="1054249"/>
            <a:ext cx="2412000" cy="1555390"/>
          </a:xfrm>
          <a:custGeom>
            <a:avLst/>
            <a:gdLst/>
            <a:ahLst/>
            <a:cxnLst/>
            <a:rect l="l" t="t" r="r" b="b"/>
            <a:pathLst>
              <a:path w="1260140" h="1872209">
                <a:moveTo>
                  <a:pt x="630071" y="0"/>
                </a:moveTo>
                <a:lnTo>
                  <a:pt x="799749" y="292548"/>
                </a:lnTo>
                <a:lnTo>
                  <a:pt x="1107260" y="292548"/>
                </a:lnTo>
                <a:cubicBezTo>
                  <a:pt x="1191693" y="292548"/>
                  <a:pt x="1260140" y="360995"/>
                  <a:pt x="1260140" y="445428"/>
                </a:cubicBezTo>
                <a:lnTo>
                  <a:pt x="1260140" y="1719329"/>
                </a:lnTo>
                <a:cubicBezTo>
                  <a:pt x="1260140" y="1803762"/>
                  <a:pt x="1191693" y="1872209"/>
                  <a:pt x="1107260" y="1872209"/>
                </a:cubicBezTo>
                <a:lnTo>
                  <a:pt x="152880" y="1872209"/>
                </a:lnTo>
                <a:cubicBezTo>
                  <a:pt x="68447" y="1872209"/>
                  <a:pt x="0" y="1803762"/>
                  <a:pt x="0" y="1719329"/>
                </a:cubicBezTo>
                <a:lnTo>
                  <a:pt x="0" y="445428"/>
                </a:lnTo>
                <a:cubicBezTo>
                  <a:pt x="0" y="360995"/>
                  <a:pt x="68447" y="292548"/>
                  <a:pt x="152880" y="292548"/>
                </a:cubicBezTo>
                <a:lnTo>
                  <a:pt x="460393" y="292548"/>
                </a:lnTo>
                <a:close/>
              </a:path>
            </a:pathLst>
          </a:custGeom>
          <a:noFill/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454879" y="1152484"/>
            <a:ext cx="218356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rgbClr val="1BCCB3"/>
                </a:solidFill>
                <a:latin typeface="Century Gothic" panose="020B0502020202020204"/>
              </a:rPr>
              <a:t>Создание </a:t>
            </a:r>
            <a:endParaRPr lang="ru-RU" sz="1400" dirty="0" smtClean="0">
              <a:solidFill>
                <a:srgbClr val="1BCCB3"/>
              </a:solidFill>
              <a:latin typeface="Century Gothic" panose="020B0502020202020204"/>
            </a:endParaRPr>
          </a:p>
          <a:p>
            <a:pPr algn="ctr"/>
            <a:r>
              <a:rPr lang="ru-RU" sz="1400" dirty="0" smtClean="0">
                <a:solidFill>
                  <a:srgbClr val="1BCCB3"/>
                </a:solidFill>
                <a:latin typeface="Century Gothic" panose="020B0502020202020204"/>
              </a:rPr>
              <a:t>фондов </a:t>
            </a:r>
            <a:r>
              <a:rPr lang="ru-RU" sz="1400" dirty="0">
                <a:solidFill>
                  <a:srgbClr val="1BCCB3"/>
                </a:solidFill>
                <a:latin typeface="Century Gothic" panose="020B0502020202020204"/>
              </a:rPr>
              <a:t>для участия населения в поддержке отдельных объектов культуры </a:t>
            </a:r>
          </a:p>
        </p:txBody>
      </p:sp>
      <p:sp>
        <p:nvSpPr>
          <p:cNvPr id="18" name="Rounded Rectangle 8">
            <a:extLst>
              <a:ext uri="{FF2B5EF4-FFF2-40B4-BE49-F238E27FC236}">
                <a16:creationId xmlns:a16="http://schemas.microsoft.com/office/drawing/2014/main" id="{C7B57B69-F8FE-4A19-A7DE-6F7A380F8454}"/>
              </a:ext>
            </a:extLst>
          </p:cNvPr>
          <p:cNvSpPr/>
          <p:nvPr/>
        </p:nvSpPr>
        <p:spPr>
          <a:xfrm rot="10800000">
            <a:off x="9218855" y="1054250"/>
            <a:ext cx="2412000" cy="1555390"/>
          </a:xfrm>
          <a:custGeom>
            <a:avLst/>
            <a:gdLst/>
            <a:ahLst/>
            <a:cxnLst/>
            <a:rect l="l" t="t" r="r" b="b"/>
            <a:pathLst>
              <a:path w="1260140" h="1872209">
                <a:moveTo>
                  <a:pt x="630071" y="0"/>
                </a:moveTo>
                <a:lnTo>
                  <a:pt x="799749" y="292548"/>
                </a:lnTo>
                <a:lnTo>
                  <a:pt x="1107260" y="292548"/>
                </a:lnTo>
                <a:cubicBezTo>
                  <a:pt x="1191693" y="292548"/>
                  <a:pt x="1260140" y="360995"/>
                  <a:pt x="1260140" y="445428"/>
                </a:cubicBezTo>
                <a:lnTo>
                  <a:pt x="1260140" y="1719329"/>
                </a:lnTo>
                <a:cubicBezTo>
                  <a:pt x="1260140" y="1803762"/>
                  <a:pt x="1191693" y="1872209"/>
                  <a:pt x="1107260" y="1872209"/>
                </a:cubicBezTo>
                <a:lnTo>
                  <a:pt x="152880" y="1872209"/>
                </a:lnTo>
                <a:cubicBezTo>
                  <a:pt x="68447" y="1872209"/>
                  <a:pt x="0" y="1803762"/>
                  <a:pt x="0" y="1719329"/>
                </a:cubicBezTo>
                <a:lnTo>
                  <a:pt x="0" y="445428"/>
                </a:lnTo>
                <a:cubicBezTo>
                  <a:pt x="0" y="360995"/>
                  <a:pt x="68447" y="292548"/>
                  <a:pt x="152880" y="292548"/>
                </a:cubicBezTo>
                <a:lnTo>
                  <a:pt x="460393" y="292548"/>
                </a:lnTo>
                <a:close/>
              </a:path>
            </a:pathLst>
          </a:custGeom>
          <a:noFill/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9218388" y="1230033"/>
            <a:ext cx="243712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400" dirty="0">
                <a:solidFill>
                  <a:srgbClr val="1BCCB3"/>
                </a:solidFill>
              </a:rPr>
              <a:t>Участие </a:t>
            </a:r>
          </a:p>
          <a:p>
            <a:pPr lvl="0" algn="ctr">
              <a:defRPr/>
            </a:pPr>
            <a:r>
              <a:rPr lang="ru-RU" sz="1400" dirty="0">
                <a:solidFill>
                  <a:srgbClr val="1BCCB3"/>
                </a:solidFill>
              </a:rPr>
              <a:t>государства и механизмы помощи инвесторам </a:t>
            </a:r>
          </a:p>
        </p:txBody>
      </p:sp>
      <p:sp>
        <p:nvSpPr>
          <p:cNvPr id="20" name="TextBox 19"/>
          <p:cNvSpPr txBox="1"/>
          <p:nvPr/>
        </p:nvSpPr>
        <p:spPr>
          <a:xfrm rot="16200000">
            <a:off x="-490770" y="1308733"/>
            <a:ext cx="1346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З</a:t>
            </a:r>
            <a:r>
              <a:rPr lang="ru-RU" dirty="0" smtClean="0">
                <a:solidFill>
                  <a:schemeClr val="bg1">
                    <a:lumMod val="65000"/>
                  </a:schemeClr>
                </a:solidFill>
              </a:rPr>
              <a:t>адачи</a:t>
            </a:r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430283" y="2803525"/>
            <a:ext cx="2332273" cy="0"/>
          </a:xfrm>
          <a:prstGeom prst="line">
            <a:avLst/>
          </a:prstGeom>
          <a:noFill/>
          <a:ln w="9525" cap="flat" cmpd="sng">
            <a:solidFill>
              <a:srgbClr val="1BCCB3"/>
            </a:solidFill>
            <a:prstDash val="sysDash"/>
            <a:round/>
            <a:headEnd type="none" w="sm" len="sm"/>
            <a:tailEnd type="none" w="sm" len="sm"/>
          </a:ln>
        </p:spPr>
      </p:cxnSp>
      <p:cxnSp>
        <p:nvCxnSpPr>
          <p:cNvPr id="22" name="Прямая соединительная линия 21"/>
          <p:cNvCxnSpPr/>
          <p:nvPr/>
        </p:nvCxnSpPr>
        <p:spPr>
          <a:xfrm>
            <a:off x="3446282" y="2803525"/>
            <a:ext cx="8051639" cy="0"/>
          </a:xfrm>
          <a:prstGeom prst="line">
            <a:avLst/>
          </a:prstGeom>
          <a:noFill/>
          <a:ln w="9525" cap="flat" cmpd="sng">
            <a:solidFill>
              <a:srgbClr val="1BCCB3"/>
            </a:solidFill>
            <a:prstDash val="sysDash"/>
            <a:round/>
            <a:headEnd type="none" w="sm" len="sm"/>
            <a:tailEnd type="none" w="sm" len="sm"/>
          </a:ln>
        </p:spPr>
      </p:cxn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992FC779-CBCA-1C4F-ABBF-572EB2195FA8}"/>
              </a:ext>
            </a:extLst>
          </p:cNvPr>
          <p:cNvSpPr/>
          <p:nvPr/>
        </p:nvSpPr>
        <p:spPr>
          <a:xfrm>
            <a:off x="243508" y="168960"/>
            <a:ext cx="11754528" cy="515122"/>
          </a:xfrm>
          <a:prstGeom prst="rect">
            <a:avLst/>
          </a:prstGeom>
        </p:spPr>
        <p:txBody>
          <a:bodyPr wrap="square" lIns="121485" tIns="60760" rIns="121485" bIns="607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000" b="1" dirty="0" smtClean="0">
                <a:solidFill>
                  <a:srgbClr val="1BCCB3"/>
                </a:solidFill>
                <a:latin typeface="Century Gothic" panose="020B0502020202020204"/>
              </a:rPr>
              <a:t>Механизм</a:t>
            </a:r>
            <a:r>
              <a:rPr kumimoji="0" lang="ru-RU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 реализации проекта</a:t>
            </a:r>
            <a:endParaRPr kumimoji="0" lang="ru-RU" sz="3000" b="1" i="0" u="none" strike="noStrike" kern="1200" cap="none" spc="0" normalizeH="0" baseline="0" noProof="0" dirty="0">
              <a:ln>
                <a:noFill/>
              </a:ln>
              <a:solidFill>
                <a:srgbClr val="1BCCB3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3405283" y="2941420"/>
            <a:ext cx="8225572" cy="1431161"/>
          </a:xfrm>
          <a:prstGeom prst="rect">
            <a:avLst/>
          </a:prstGeom>
          <a:solidFill>
            <a:srgbClr val="1BCCB3">
              <a:alpha val="10000"/>
            </a:srgbClr>
          </a:solidFill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dirty="0" smtClean="0">
                <a:solidFill>
                  <a:schemeClr val="bg1"/>
                </a:solidFill>
              </a:rPr>
              <a:t>Реализация в 3 этапа:</a:t>
            </a:r>
          </a:p>
          <a:p>
            <a:pPr marL="623888" indent="-534988">
              <a:spcAft>
                <a:spcPts val="600"/>
              </a:spcAft>
              <a:buAutoNum type="arabicPeriod"/>
            </a:pPr>
            <a:r>
              <a:rPr lang="ru-RU" dirty="0" smtClean="0">
                <a:solidFill>
                  <a:schemeClr val="bg1"/>
                </a:solidFill>
              </a:rPr>
              <a:t>Методология и разработка инструментов</a:t>
            </a:r>
          </a:p>
          <a:p>
            <a:pPr marL="623888" indent="-534988">
              <a:spcAft>
                <a:spcPts val="600"/>
              </a:spcAft>
              <a:buAutoNum type="arabicPeriod"/>
            </a:pPr>
            <a:r>
              <a:rPr lang="ru-RU" dirty="0" smtClean="0">
                <a:solidFill>
                  <a:schemeClr val="bg1"/>
                </a:solidFill>
              </a:rPr>
              <a:t>Пилотирование </a:t>
            </a:r>
            <a:endParaRPr lang="ru-RU" dirty="0">
              <a:solidFill>
                <a:schemeClr val="bg1"/>
              </a:solidFill>
            </a:endParaRPr>
          </a:p>
          <a:p>
            <a:pPr marL="623888" indent="-534988">
              <a:spcAft>
                <a:spcPts val="600"/>
              </a:spcAft>
              <a:buAutoNum type="arabicPeriod"/>
            </a:pPr>
            <a:r>
              <a:rPr lang="ru-RU" dirty="0">
                <a:solidFill>
                  <a:schemeClr val="bg1"/>
                </a:solidFill>
              </a:rPr>
              <a:t>П</a:t>
            </a:r>
            <a:r>
              <a:rPr lang="ru-RU" dirty="0" smtClean="0">
                <a:solidFill>
                  <a:schemeClr val="bg1"/>
                </a:solidFill>
              </a:rPr>
              <a:t>одведение итогов пилота </a:t>
            </a:r>
            <a:r>
              <a:rPr lang="ru-RU" dirty="0">
                <a:solidFill>
                  <a:schemeClr val="bg1"/>
                </a:solidFill>
              </a:rPr>
              <a:t>и принятие решения о тираже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472004" y="4807027"/>
            <a:ext cx="11788404" cy="0"/>
          </a:xfrm>
          <a:prstGeom prst="line">
            <a:avLst/>
          </a:prstGeom>
          <a:noFill/>
          <a:ln w="9525" cap="flat" cmpd="sng">
            <a:solidFill>
              <a:srgbClr val="1BCCB3"/>
            </a:solidFill>
            <a:prstDash val="sysDash"/>
            <a:round/>
            <a:headEnd type="none" w="sm" len="sm"/>
            <a:tailEnd type="none" w="sm" len="sm"/>
          </a:ln>
        </p:spPr>
      </p:cxnSp>
      <p:sp>
        <p:nvSpPr>
          <p:cNvPr id="28" name="Rounded Rectangle 8">
            <a:extLst>
              <a:ext uri="{FF2B5EF4-FFF2-40B4-BE49-F238E27FC236}">
                <a16:creationId xmlns:a16="http://schemas.microsoft.com/office/drawing/2014/main" id="{C7B57B69-F8FE-4A19-A7DE-6F7A380F8454}"/>
              </a:ext>
            </a:extLst>
          </p:cNvPr>
          <p:cNvSpPr/>
          <p:nvPr/>
        </p:nvSpPr>
        <p:spPr>
          <a:xfrm rot="5400000">
            <a:off x="1854728" y="3712795"/>
            <a:ext cx="1181327" cy="4109378"/>
          </a:xfrm>
          <a:custGeom>
            <a:avLst/>
            <a:gdLst/>
            <a:ahLst/>
            <a:cxnLst/>
            <a:rect l="l" t="t" r="r" b="b"/>
            <a:pathLst>
              <a:path w="1260140" h="1872209">
                <a:moveTo>
                  <a:pt x="630071" y="0"/>
                </a:moveTo>
                <a:lnTo>
                  <a:pt x="799749" y="292548"/>
                </a:lnTo>
                <a:lnTo>
                  <a:pt x="1107260" y="292548"/>
                </a:lnTo>
                <a:cubicBezTo>
                  <a:pt x="1191693" y="292548"/>
                  <a:pt x="1260140" y="360995"/>
                  <a:pt x="1260140" y="445428"/>
                </a:cubicBezTo>
                <a:lnTo>
                  <a:pt x="1260140" y="1719329"/>
                </a:lnTo>
                <a:cubicBezTo>
                  <a:pt x="1260140" y="1803762"/>
                  <a:pt x="1191693" y="1872209"/>
                  <a:pt x="1107260" y="1872209"/>
                </a:cubicBezTo>
                <a:lnTo>
                  <a:pt x="152880" y="1872209"/>
                </a:lnTo>
                <a:cubicBezTo>
                  <a:pt x="68447" y="1872209"/>
                  <a:pt x="0" y="1803762"/>
                  <a:pt x="0" y="1719329"/>
                </a:cubicBezTo>
                <a:lnTo>
                  <a:pt x="0" y="445428"/>
                </a:lnTo>
                <a:cubicBezTo>
                  <a:pt x="0" y="360995"/>
                  <a:pt x="68447" y="292548"/>
                  <a:pt x="152880" y="292548"/>
                </a:cubicBezTo>
                <a:lnTo>
                  <a:pt x="460393" y="292548"/>
                </a:lnTo>
                <a:close/>
              </a:path>
            </a:pathLst>
          </a:custGeom>
          <a:noFill/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329060" y="5312987"/>
            <a:ext cx="340242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dirty="0">
                <a:solidFill>
                  <a:srgbClr val="FE644E"/>
                </a:solidFill>
                <a:latin typeface="Century Gothic" panose="020B0502020202020204"/>
              </a:rPr>
              <a:t>Включение объектов </a:t>
            </a:r>
            <a:endParaRPr lang="ru-RU" sz="1400" dirty="0" smtClean="0">
              <a:solidFill>
                <a:srgbClr val="FE644E"/>
              </a:solidFill>
              <a:latin typeface="Century Gothic" panose="020B0502020202020204"/>
            </a:endParaRPr>
          </a:p>
          <a:p>
            <a:pPr algn="ctr">
              <a:defRPr/>
            </a:pPr>
            <a:r>
              <a:rPr lang="ru-RU" sz="1400" dirty="0" smtClean="0">
                <a:solidFill>
                  <a:srgbClr val="FE644E"/>
                </a:solidFill>
                <a:latin typeface="Century Gothic" panose="020B0502020202020204"/>
              </a:rPr>
              <a:t>культуры </a:t>
            </a:r>
            <a:r>
              <a:rPr lang="ru-RU" sz="1400" dirty="0">
                <a:solidFill>
                  <a:srgbClr val="FE644E"/>
                </a:solidFill>
                <a:latin typeface="Century Gothic" panose="020B0502020202020204"/>
              </a:rPr>
              <a:t>в программы лояльности без необходимости увеличения стоимости услуги на 20% </a:t>
            </a:r>
            <a:r>
              <a:rPr lang="ru-RU" sz="1400" dirty="0" smtClean="0">
                <a:solidFill>
                  <a:srgbClr val="FE644E"/>
                </a:solidFill>
                <a:latin typeface="Century Gothic" panose="020B0502020202020204"/>
              </a:rPr>
              <a:t>НДС*</a:t>
            </a:r>
            <a:endParaRPr lang="ru-RU" sz="1400" dirty="0">
              <a:solidFill>
                <a:srgbClr val="FE644E"/>
              </a:solidFill>
              <a:latin typeface="Century Gothic" panose="020B0502020202020204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4628032" y="5120216"/>
            <a:ext cx="7002824" cy="1237931"/>
          </a:xfrm>
          <a:prstGeom prst="rect">
            <a:avLst/>
          </a:prstGeom>
          <a:solidFill>
            <a:srgbClr val="FE644E">
              <a:alpha val="10000"/>
            </a:srgbClr>
          </a:solidFill>
        </p:spPr>
        <p:txBody>
          <a:bodyPr wrap="square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ru-RU" dirty="0" smtClean="0">
                <a:solidFill>
                  <a:schemeClr val="bg1"/>
                </a:solidFill>
              </a:rPr>
              <a:t>Задача может быть реализована в рамках операционной деятельности</a:t>
            </a:r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088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11177902" y="1233464"/>
            <a:ext cx="688033" cy="5228981"/>
          </a:xfrm>
          <a:prstGeom prst="rect">
            <a:avLst/>
          </a:prstGeom>
          <a:solidFill>
            <a:schemeClr val="bg1">
              <a:lumMod val="95000"/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1B9649A-8A7A-434E-A9A5-447A515964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86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B1B9649A-8A7A-434E-A9A5-447A51596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992FC779-CBCA-1C4F-ABBF-572EB2195FA8}"/>
              </a:ext>
            </a:extLst>
          </p:cNvPr>
          <p:cNvSpPr/>
          <p:nvPr/>
        </p:nvSpPr>
        <p:spPr>
          <a:xfrm>
            <a:off x="526075" y="4082315"/>
            <a:ext cx="2247171" cy="399706"/>
          </a:xfrm>
          <a:prstGeom prst="rect">
            <a:avLst/>
          </a:prstGeom>
        </p:spPr>
        <p:txBody>
          <a:bodyPr wrap="square" lIns="121485" tIns="60760" rIns="121485" bIns="607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Главы субъектов</a:t>
            </a: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3625702" y="1233463"/>
            <a:ext cx="0" cy="5380497"/>
          </a:xfrm>
          <a:prstGeom prst="line">
            <a:avLst/>
          </a:prstGeom>
          <a:ln>
            <a:solidFill>
              <a:srgbClr val="1BCCB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992FC779-CBCA-1C4F-ABBF-572EB2195FA8}"/>
              </a:ext>
            </a:extLst>
          </p:cNvPr>
          <p:cNvSpPr/>
          <p:nvPr/>
        </p:nvSpPr>
        <p:spPr>
          <a:xfrm>
            <a:off x="3763684" y="1212253"/>
            <a:ext cx="3244213" cy="399706"/>
          </a:xfrm>
          <a:prstGeom prst="rect">
            <a:avLst/>
          </a:prstGeom>
        </p:spPr>
        <p:txBody>
          <a:bodyPr wrap="square" lIns="121485" tIns="60760" rIns="121485" bIns="607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Национальные цели</a:t>
            </a: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992FC779-CBCA-1C4F-ABBF-572EB2195FA8}"/>
              </a:ext>
            </a:extLst>
          </p:cNvPr>
          <p:cNvSpPr/>
          <p:nvPr/>
        </p:nvSpPr>
        <p:spPr>
          <a:xfrm>
            <a:off x="243507" y="1939809"/>
            <a:ext cx="3924455" cy="358156"/>
          </a:xfrm>
          <a:prstGeom prst="rect">
            <a:avLst/>
          </a:prstGeom>
        </p:spPr>
        <p:txBody>
          <a:bodyPr wrap="square" lIns="121485" tIns="60760" rIns="121485" bIns="607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ФЕДЕРАЛЬНЫЙ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уровень</a:t>
            </a: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992FC779-CBCA-1C4F-ABBF-572EB2195FA8}"/>
              </a:ext>
            </a:extLst>
          </p:cNvPr>
          <p:cNvSpPr/>
          <p:nvPr/>
        </p:nvSpPr>
        <p:spPr>
          <a:xfrm>
            <a:off x="243508" y="3663175"/>
            <a:ext cx="4052045" cy="358156"/>
          </a:xfrm>
          <a:prstGeom prst="rect">
            <a:avLst/>
          </a:prstGeom>
        </p:spPr>
        <p:txBody>
          <a:bodyPr wrap="square" lIns="121485" tIns="60760" rIns="121485" bIns="607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РЕГИОНАЛЬНЫЙ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уровень</a:t>
            </a: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992FC779-CBCA-1C4F-ABBF-572EB2195FA8}"/>
              </a:ext>
            </a:extLst>
          </p:cNvPr>
          <p:cNvSpPr/>
          <p:nvPr/>
        </p:nvSpPr>
        <p:spPr>
          <a:xfrm>
            <a:off x="243508" y="5315624"/>
            <a:ext cx="3105748" cy="358156"/>
          </a:xfrm>
          <a:prstGeom prst="rect">
            <a:avLst/>
          </a:prstGeom>
        </p:spPr>
        <p:txBody>
          <a:bodyPr wrap="square" lIns="121485" tIns="60760" rIns="121485" bIns="607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МЕСТНЫЙ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уровень</a:t>
            </a: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992FC779-CBCA-1C4F-ABBF-572EB2195FA8}"/>
              </a:ext>
            </a:extLst>
          </p:cNvPr>
          <p:cNvSpPr/>
          <p:nvPr/>
        </p:nvSpPr>
        <p:spPr>
          <a:xfrm>
            <a:off x="243508" y="1216543"/>
            <a:ext cx="1602155" cy="399706"/>
          </a:xfrm>
          <a:prstGeom prst="rect">
            <a:avLst/>
          </a:prstGeom>
        </p:spPr>
        <p:txBody>
          <a:bodyPr wrap="square" lIns="121485" tIns="60760" rIns="121485" bIns="6076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Заказчик</a:t>
            </a: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992FC779-CBCA-1C4F-ABBF-572EB2195FA8}"/>
              </a:ext>
            </a:extLst>
          </p:cNvPr>
          <p:cNvSpPr/>
          <p:nvPr/>
        </p:nvSpPr>
        <p:spPr>
          <a:xfrm>
            <a:off x="6646508" y="1201524"/>
            <a:ext cx="3244213" cy="399706"/>
          </a:xfrm>
          <a:prstGeom prst="rect">
            <a:avLst/>
          </a:prstGeom>
        </p:spPr>
        <p:txBody>
          <a:bodyPr wrap="square" lIns="121485" tIns="60760" rIns="121485" bIns="607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Показатели</a:t>
            </a: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>
            <a:off x="340605" y="1692393"/>
            <a:ext cx="3008523" cy="0"/>
          </a:xfrm>
          <a:prstGeom prst="line">
            <a:avLst/>
          </a:prstGeom>
          <a:ln>
            <a:solidFill>
              <a:srgbClr val="1BCCB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/>
          <p:cNvCxnSpPr/>
          <p:nvPr/>
        </p:nvCxnSpPr>
        <p:spPr>
          <a:xfrm>
            <a:off x="3815918" y="1692393"/>
            <a:ext cx="7992000" cy="0"/>
          </a:xfrm>
          <a:prstGeom prst="line">
            <a:avLst/>
          </a:prstGeom>
          <a:ln>
            <a:solidFill>
              <a:srgbClr val="1BCCB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3721800" y="1909599"/>
            <a:ext cx="3162370" cy="829054"/>
          </a:xfrm>
          <a:prstGeom prst="rect">
            <a:avLst/>
          </a:prstGeom>
        </p:spPr>
        <p:txBody>
          <a:bodyPr wrap="square" lIns="121485" tIns="60760" rIns="121485" bIns="607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A6312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Возможности для самореализации и развития талантов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298015" y="1772190"/>
            <a:ext cx="301848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Calibri" panose="020F0502020204030204" pitchFamily="34" charset="0"/>
                <a:cs typeface="+mn-cs"/>
              </a:rPr>
              <a:t>Индекс вовлеченности в систему воспитания гармонично развитой и социально ответственной личности</a:t>
            </a:r>
            <a:r>
              <a:rPr kumimoji="0" lang="ru-RU" sz="12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Calibri" panose="020F0502020204030204" pitchFamily="34" charset="0"/>
                <a:cs typeface="+mn-cs"/>
              </a:rPr>
              <a:t> …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Calibri" panose="020F0502020204030204" pitchFamily="34" charset="0"/>
                <a:cs typeface="+mn-cs"/>
              </a:rPr>
              <a:t>, %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298015" y="3188881"/>
            <a:ext cx="30184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Calibri" panose="020F0502020204030204" pitchFamily="34" charset="0"/>
                <a:cs typeface="+mn-cs"/>
              </a:rPr>
              <a:t>Увеличение числа посещений культурных мероприятий в три раза по сравнению с 2019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Calibri" panose="020F0502020204030204" pitchFamily="34" charset="0"/>
                <a:cs typeface="+mn-cs"/>
              </a:rPr>
              <a:t>г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Calibri" panose="020F0502020204030204" pitchFamily="34" charset="0"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721800" y="4367846"/>
            <a:ext cx="2404920" cy="1299952"/>
          </a:xfrm>
          <a:prstGeom prst="rect">
            <a:avLst/>
          </a:prstGeom>
        </p:spPr>
        <p:txBody>
          <a:bodyPr wrap="square" lIns="121485" tIns="60760" rIns="121485" bIns="607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A6312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Достойный, эффективный труд и успешное предпринима-тельство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6298015" y="4381761"/>
            <a:ext cx="3048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3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Calibri" panose="020F0502020204030204" pitchFamily="34" charset="0"/>
                <a:cs typeface="+mn-cs"/>
              </a:rPr>
              <a:t>Индекс физического объема инвестиций в основной капитал, в % к 2020 году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6285360" y="5408054"/>
            <a:ext cx="299839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4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Calibri" panose="020F0502020204030204" pitchFamily="34" charset="0"/>
                <a:cs typeface="+mn-cs"/>
              </a:rPr>
              <a:t>Увеличение числа занятых в сфере малого и среднего предпринимательства, включая ИП и самозанятых</a:t>
            </a: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992FC779-CBCA-1C4F-ABBF-572EB2195FA8}"/>
              </a:ext>
            </a:extLst>
          </p:cNvPr>
          <p:cNvSpPr/>
          <p:nvPr/>
        </p:nvSpPr>
        <p:spPr>
          <a:xfrm>
            <a:off x="526075" y="2304872"/>
            <a:ext cx="2247171" cy="399706"/>
          </a:xfrm>
          <a:prstGeom prst="rect">
            <a:avLst/>
          </a:prstGeom>
        </p:spPr>
        <p:txBody>
          <a:bodyPr wrap="square" lIns="121485" tIns="60760" rIns="121485" bIns="607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Голикова Т.А.</a:t>
            </a: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992FC779-CBCA-1C4F-ABBF-572EB2195FA8}"/>
              </a:ext>
            </a:extLst>
          </p:cNvPr>
          <p:cNvSpPr/>
          <p:nvPr/>
        </p:nvSpPr>
        <p:spPr>
          <a:xfrm>
            <a:off x="526075" y="5706688"/>
            <a:ext cx="3077724" cy="399706"/>
          </a:xfrm>
          <a:prstGeom prst="rect">
            <a:avLst/>
          </a:prstGeom>
        </p:spPr>
        <p:txBody>
          <a:bodyPr wrap="square" lIns="121485" tIns="60760" rIns="121485" bIns="607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Главы муниципалитетов</a:t>
            </a:r>
          </a:p>
        </p:txBody>
      </p:sp>
      <p:graphicFrame>
        <p:nvGraphicFramePr>
          <p:cNvPr id="67" name="Диаграмма 66"/>
          <p:cNvGraphicFramePr/>
          <p:nvPr>
            <p:extLst/>
          </p:nvPr>
        </p:nvGraphicFramePr>
        <p:xfrm>
          <a:off x="9460385" y="1401377"/>
          <a:ext cx="2507495" cy="1696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9460385" y="1233463"/>
            <a:ext cx="9276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2019 факт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10272181" y="1227994"/>
            <a:ext cx="9276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2020 оценка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11062074" y="1231396"/>
            <a:ext cx="9276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2030</a:t>
            </a:r>
          </a:p>
        </p:txBody>
      </p:sp>
      <p:graphicFrame>
        <p:nvGraphicFramePr>
          <p:cNvPr id="70" name="Диаграмма 69"/>
          <p:cNvGraphicFramePr/>
          <p:nvPr>
            <p:extLst>
              <p:ext uri="{D42A27DB-BD31-4B8C-83A1-F6EECF244321}">
                <p14:modId xmlns:p14="http://schemas.microsoft.com/office/powerpoint/2010/main" val="1619708758"/>
              </p:ext>
            </p:extLst>
          </p:nvPr>
        </p:nvGraphicFramePr>
        <p:xfrm>
          <a:off x="9481319" y="2191542"/>
          <a:ext cx="2507495" cy="1696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0" name="Прямоугольник 19"/>
          <p:cNvSpPr/>
          <p:nvPr/>
        </p:nvSpPr>
        <p:spPr>
          <a:xfrm>
            <a:off x="9746847" y="2685891"/>
            <a:ext cx="143105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Calibri" panose="020F0502020204030204" pitchFamily="34" charset="0"/>
                <a:cs typeface="+mn-cs"/>
              </a:rPr>
              <a:t>млн. посещений</a:t>
            </a:r>
          </a:p>
        </p:txBody>
      </p:sp>
      <p:graphicFrame>
        <p:nvGraphicFramePr>
          <p:cNvPr id="71" name="Диаграмма 70"/>
          <p:cNvGraphicFramePr/>
          <p:nvPr>
            <p:extLst/>
          </p:nvPr>
        </p:nvGraphicFramePr>
        <p:xfrm>
          <a:off x="9427904" y="3884897"/>
          <a:ext cx="2507495" cy="1696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72" name="Шеврон 16">
            <a:extLst>
              <a:ext uri="{FF2B5EF4-FFF2-40B4-BE49-F238E27FC236}">
                <a16:creationId xmlns:a16="http://schemas.microsoft.com/office/drawing/2014/main" id="{6BAD2E55-11D4-CB46-A83B-7736C514B322}"/>
              </a:ext>
            </a:extLst>
          </p:cNvPr>
          <p:cNvSpPr/>
          <p:nvPr/>
        </p:nvSpPr>
        <p:spPr>
          <a:xfrm>
            <a:off x="9342816" y="3196093"/>
            <a:ext cx="199826" cy="442593"/>
          </a:xfrm>
          <a:prstGeom prst="chevron">
            <a:avLst>
              <a:gd name="adj" fmla="val 9249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3" name="Шеврон 16">
            <a:extLst>
              <a:ext uri="{FF2B5EF4-FFF2-40B4-BE49-F238E27FC236}">
                <a16:creationId xmlns:a16="http://schemas.microsoft.com/office/drawing/2014/main" id="{6BAD2E55-11D4-CB46-A83B-7736C514B322}"/>
              </a:ext>
            </a:extLst>
          </p:cNvPr>
          <p:cNvSpPr/>
          <p:nvPr/>
        </p:nvSpPr>
        <p:spPr>
          <a:xfrm>
            <a:off x="9312155" y="2170590"/>
            <a:ext cx="199826" cy="442593"/>
          </a:xfrm>
          <a:prstGeom prst="chevron">
            <a:avLst>
              <a:gd name="adj" fmla="val 9249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4" name="Шеврон 16">
            <a:extLst>
              <a:ext uri="{FF2B5EF4-FFF2-40B4-BE49-F238E27FC236}">
                <a16:creationId xmlns:a16="http://schemas.microsoft.com/office/drawing/2014/main" id="{6BAD2E55-11D4-CB46-A83B-7736C514B322}"/>
              </a:ext>
            </a:extLst>
          </p:cNvPr>
          <p:cNvSpPr/>
          <p:nvPr/>
        </p:nvSpPr>
        <p:spPr>
          <a:xfrm>
            <a:off x="9342816" y="4520459"/>
            <a:ext cx="199826" cy="442593"/>
          </a:xfrm>
          <a:prstGeom prst="chevron">
            <a:avLst>
              <a:gd name="adj" fmla="val 9249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Шеврон 16">
            <a:extLst>
              <a:ext uri="{FF2B5EF4-FFF2-40B4-BE49-F238E27FC236}">
                <a16:creationId xmlns:a16="http://schemas.microsoft.com/office/drawing/2014/main" id="{6BAD2E55-11D4-CB46-A83B-7736C514B322}"/>
              </a:ext>
            </a:extLst>
          </p:cNvPr>
          <p:cNvSpPr/>
          <p:nvPr/>
        </p:nvSpPr>
        <p:spPr>
          <a:xfrm>
            <a:off x="9342816" y="5689642"/>
            <a:ext cx="199826" cy="442593"/>
          </a:xfrm>
          <a:prstGeom prst="chevron">
            <a:avLst>
              <a:gd name="adj" fmla="val 9249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76" name="Диаграмма 75"/>
          <p:cNvGraphicFramePr/>
          <p:nvPr>
            <p:extLst>
              <p:ext uri="{D42A27DB-BD31-4B8C-83A1-F6EECF244321}">
                <p14:modId xmlns:p14="http://schemas.microsoft.com/office/powerpoint/2010/main" val="1042342700"/>
              </p:ext>
            </p:extLst>
          </p:nvPr>
        </p:nvGraphicFramePr>
        <p:xfrm>
          <a:off x="9515994" y="4652761"/>
          <a:ext cx="2507495" cy="1696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77" name="Прямоугольник 76"/>
          <p:cNvSpPr/>
          <p:nvPr/>
        </p:nvSpPr>
        <p:spPr>
          <a:xfrm>
            <a:off x="9798130" y="5220520"/>
            <a:ext cx="143105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Calibri" panose="020F0502020204030204" pitchFamily="34" charset="0"/>
                <a:cs typeface="+mn-cs"/>
              </a:rPr>
              <a:t>млн. человек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9798130" y="4406848"/>
            <a:ext cx="143105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Calibri" panose="020F0502020204030204" pitchFamily="34" charset="0"/>
                <a:cs typeface="+mn-cs"/>
              </a:rPr>
              <a:t>Индекс %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9725029" y="1774756"/>
            <a:ext cx="143105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Calibri" panose="020F0502020204030204" pitchFamily="34" charset="0"/>
                <a:cs typeface="+mn-cs"/>
              </a:rPr>
              <a:t>Индекс %</a:t>
            </a:r>
          </a:p>
        </p:txBody>
      </p:sp>
      <p:cxnSp>
        <p:nvCxnSpPr>
          <p:cNvPr id="80" name="Прямая соединительная линия 79"/>
          <p:cNvCxnSpPr/>
          <p:nvPr/>
        </p:nvCxnSpPr>
        <p:spPr>
          <a:xfrm>
            <a:off x="3873935" y="4008901"/>
            <a:ext cx="7992000" cy="0"/>
          </a:xfrm>
          <a:prstGeom prst="line">
            <a:avLst/>
          </a:prstGeom>
          <a:ln>
            <a:solidFill>
              <a:srgbClr val="1BCCB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Прямоугольник 80"/>
          <p:cNvSpPr/>
          <p:nvPr/>
        </p:nvSpPr>
        <p:spPr>
          <a:xfrm>
            <a:off x="9513950" y="3166722"/>
            <a:ext cx="620182" cy="261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Calibri" panose="020F0502020204030204" pitchFamily="34" charset="0"/>
                <a:cs typeface="+mn-cs"/>
              </a:rPr>
              <a:t>РФ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538757" y="3382918"/>
            <a:ext cx="620182" cy="261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EA6312"/>
                </a:solidFill>
                <a:effectLst/>
                <a:uLnTx/>
                <a:uFillTx/>
                <a:latin typeface="Century Gothic" panose="020B0502020202020204"/>
                <a:ea typeface="Calibri" panose="020F0502020204030204" pitchFamily="34" charset="0"/>
                <a:cs typeface="+mn-cs"/>
              </a:rPr>
              <a:t>РТ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10272181" y="5610562"/>
            <a:ext cx="620182" cy="261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Calibri" panose="020F0502020204030204" pitchFamily="34" charset="0"/>
                <a:cs typeface="+mn-cs"/>
              </a:rPr>
              <a:t>РФ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10296988" y="5826758"/>
            <a:ext cx="620182" cy="261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EA6312"/>
                </a:solidFill>
                <a:effectLst/>
                <a:uLnTx/>
                <a:uFillTx/>
                <a:latin typeface="Century Gothic" panose="020B0502020202020204"/>
                <a:ea typeface="Calibri" panose="020F0502020204030204" pitchFamily="34" charset="0"/>
                <a:cs typeface="+mn-cs"/>
              </a:rPr>
              <a:t>РТ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992FC779-CBCA-1C4F-ABBF-572EB2195FA8}"/>
              </a:ext>
            </a:extLst>
          </p:cNvPr>
          <p:cNvSpPr/>
          <p:nvPr/>
        </p:nvSpPr>
        <p:spPr>
          <a:xfrm>
            <a:off x="243508" y="168960"/>
            <a:ext cx="11754528" cy="907537"/>
          </a:xfrm>
          <a:prstGeom prst="rect">
            <a:avLst/>
          </a:prstGeom>
        </p:spPr>
        <p:txBody>
          <a:bodyPr wrap="square" lIns="121485" tIns="60760" rIns="121485" bIns="607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000" b="1" dirty="0">
                <a:solidFill>
                  <a:srgbClr val="1BCCB3"/>
                </a:solidFill>
                <a:latin typeface="Century Gothic" panose="020B0502020202020204"/>
              </a:rPr>
              <a:t>Р</a:t>
            </a:r>
            <a:r>
              <a:rPr lang="ru-RU" sz="3000" b="1" dirty="0" smtClean="0">
                <a:solidFill>
                  <a:srgbClr val="1BCCB3"/>
                </a:solidFill>
                <a:latin typeface="Century Gothic" panose="020B0502020202020204"/>
              </a:rPr>
              <a:t>еализации </a:t>
            </a:r>
            <a:r>
              <a:rPr lang="ru-RU" sz="3000" b="1" dirty="0">
                <a:solidFill>
                  <a:srgbClr val="1BCCB3"/>
                </a:solidFill>
                <a:latin typeface="Century Gothic" panose="020B0502020202020204"/>
              </a:rPr>
              <a:t>проекта интересна всем уровням органов исполнительной </a:t>
            </a:r>
            <a:r>
              <a:rPr lang="ru-RU" sz="3000" b="1" dirty="0" smtClean="0">
                <a:solidFill>
                  <a:srgbClr val="1BCCB3"/>
                </a:solidFill>
                <a:latin typeface="Century Gothic" panose="020B0502020202020204"/>
              </a:rPr>
              <a:t>власти …</a:t>
            </a:r>
            <a:endParaRPr kumimoji="0" lang="ru-RU" sz="3000" b="1" i="0" u="none" strike="noStrike" kern="1200" cap="none" spc="0" normalizeH="0" baseline="0" noProof="0" dirty="0">
              <a:ln>
                <a:noFill/>
              </a:ln>
              <a:solidFill>
                <a:srgbClr val="1BCCB3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0625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1B9649A-8A7A-434E-A9A5-447A515964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27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B1B9649A-8A7A-434E-A9A5-447A51596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992FC779-CBCA-1C4F-ABBF-572EB2195FA8}"/>
              </a:ext>
            </a:extLst>
          </p:cNvPr>
          <p:cNvSpPr/>
          <p:nvPr/>
        </p:nvSpPr>
        <p:spPr>
          <a:xfrm>
            <a:off x="243508" y="168960"/>
            <a:ext cx="11754528" cy="488961"/>
          </a:xfrm>
          <a:prstGeom prst="rect">
            <a:avLst/>
          </a:prstGeom>
        </p:spPr>
        <p:txBody>
          <a:bodyPr wrap="square" lIns="121485" tIns="60760" rIns="121485" bIns="60760">
            <a:sp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  <a:defRPr/>
            </a:pPr>
            <a:r>
              <a:rPr lang="ru-RU" sz="2800" b="1" dirty="0" smtClean="0">
                <a:solidFill>
                  <a:srgbClr val="1BCCB3"/>
                </a:solidFill>
                <a:latin typeface="Century Gothic" panose="020B0502020202020204"/>
              </a:rPr>
              <a:t>… и позволит </a:t>
            </a:r>
            <a:r>
              <a:rPr lang="ru-RU" sz="2800" b="1" dirty="0">
                <a:solidFill>
                  <a:srgbClr val="1BCCB3"/>
                </a:solidFill>
                <a:latin typeface="Century Gothic" panose="020B0502020202020204"/>
              </a:rPr>
              <a:t>учесть интересы всех вовлеченных сторон</a:t>
            </a:r>
            <a:endParaRPr kumimoji="0" lang="ru-RU" sz="3000" b="1" i="0" u="none" strike="noStrike" kern="1200" cap="none" spc="0" normalizeH="0" baseline="0" noProof="0" dirty="0">
              <a:ln>
                <a:noFill/>
              </a:ln>
              <a:solidFill>
                <a:srgbClr val="1BCCB3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5" name="Left Arrow 2">
            <a:extLst>
              <a:ext uri="{FF2B5EF4-FFF2-40B4-BE49-F238E27FC236}">
                <a16:creationId xmlns:a16="http://schemas.microsoft.com/office/drawing/2014/main" id="{8D41B403-CBCB-49DA-B13C-15A3BF1D2E10}"/>
              </a:ext>
            </a:extLst>
          </p:cNvPr>
          <p:cNvSpPr/>
          <p:nvPr/>
        </p:nvSpPr>
        <p:spPr>
          <a:xfrm rot="14562945">
            <a:off x="8043093" y="3440986"/>
            <a:ext cx="618662" cy="422133"/>
          </a:xfrm>
          <a:custGeom>
            <a:avLst/>
            <a:gdLst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981979 w 1564191"/>
              <a:gd name="connsiteY6" fmla="*/ 528765 h 1189836"/>
              <a:gd name="connsiteX7" fmla="*/ 983944 w 1564191"/>
              <a:gd name="connsiteY7" fmla="*/ 528775 h 1189836"/>
              <a:gd name="connsiteX8" fmla="*/ 1564191 w 1564191"/>
              <a:gd name="connsiteY8" fmla="*/ 0 h 1189836"/>
              <a:gd name="connsiteX9" fmla="*/ 1388017 w 1564191"/>
              <a:gd name="connsiteY9" fmla="*/ 530857 h 1189836"/>
              <a:gd name="connsiteX10" fmla="*/ 1388955 w 1564191"/>
              <a:gd name="connsiteY10" fmla="*/ 530862 h 1189836"/>
              <a:gd name="connsiteX11" fmla="*/ 1388758 w 1564191"/>
              <a:gd name="connsiteY11" fmla="*/ 532748 h 1189836"/>
              <a:gd name="connsiteX12" fmla="*/ 1388961 w 1564191"/>
              <a:gd name="connsiteY12" fmla="*/ 533267 h 1189836"/>
              <a:gd name="connsiteX13" fmla="*/ 1388703 w 1564191"/>
              <a:gd name="connsiteY13" fmla="*/ 533267 h 1189836"/>
              <a:gd name="connsiteX14" fmla="*/ 939150 w 1564191"/>
              <a:gd name="connsiteY14" fmla="*/ 984963 h 1189836"/>
              <a:gd name="connsiteX15" fmla="*/ 939150 w 1564191"/>
              <a:gd name="connsiteY15" fmla="*/ 985526 h 1189836"/>
              <a:gd name="connsiteX16" fmla="*/ 933544 w 1564191"/>
              <a:gd name="connsiteY16" fmla="*/ 985526 h 1189836"/>
              <a:gd name="connsiteX17" fmla="*/ 931752 w 1564191"/>
              <a:gd name="connsiteY17" fmla="*/ 985706 h 1189836"/>
              <a:gd name="connsiteX18" fmla="*/ 931752 w 1564191"/>
              <a:gd name="connsiteY18" fmla="*/ 985526 h 1189836"/>
              <a:gd name="connsiteX19" fmla="*/ 639997 w 1564191"/>
              <a:gd name="connsiteY19" fmla="*/ 985526 h 1189836"/>
              <a:gd name="connsiteX20" fmla="*/ 639997 w 1564191"/>
              <a:gd name="connsiteY20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981979 w 1564191"/>
              <a:gd name="connsiteY6" fmla="*/ 528765 h 1189836"/>
              <a:gd name="connsiteX7" fmla="*/ 983944 w 1564191"/>
              <a:gd name="connsiteY7" fmla="*/ 528775 h 1189836"/>
              <a:gd name="connsiteX8" fmla="*/ 1564191 w 1564191"/>
              <a:gd name="connsiteY8" fmla="*/ 0 h 1189836"/>
              <a:gd name="connsiteX9" fmla="*/ 1388017 w 1564191"/>
              <a:gd name="connsiteY9" fmla="*/ 530857 h 1189836"/>
              <a:gd name="connsiteX10" fmla="*/ 1388955 w 1564191"/>
              <a:gd name="connsiteY10" fmla="*/ 530862 h 1189836"/>
              <a:gd name="connsiteX11" fmla="*/ 1388758 w 1564191"/>
              <a:gd name="connsiteY11" fmla="*/ 532748 h 1189836"/>
              <a:gd name="connsiteX12" fmla="*/ 1388961 w 1564191"/>
              <a:gd name="connsiteY12" fmla="*/ 533267 h 1189836"/>
              <a:gd name="connsiteX13" fmla="*/ 1388703 w 1564191"/>
              <a:gd name="connsiteY13" fmla="*/ 533267 h 1189836"/>
              <a:gd name="connsiteX14" fmla="*/ 939150 w 1564191"/>
              <a:gd name="connsiteY14" fmla="*/ 984963 h 1189836"/>
              <a:gd name="connsiteX15" fmla="*/ 939150 w 1564191"/>
              <a:gd name="connsiteY15" fmla="*/ 985526 h 1189836"/>
              <a:gd name="connsiteX16" fmla="*/ 933544 w 1564191"/>
              <a:gd name="connsiteY16" fmla="*/ 985526 h 1189836"/>
              <a:gd name="connsiteX17" fmla="*/ 931752 w 1564191"/>
              <a:gd name="connsiteY17" fmla="*/ 985706 h 1189836"/>
              <a:gd name="connsiteX18" fmla="*/ 931752 w 1564191"/>
              <a:gd name="connsiteY18" fmla="*/ 985526 h 1189836"/>
              <a:gd name="connsiteX19" fmla="*/ 639997 w 1564191"/>
              <a:gd name="connsiteY19" fmla="*/ 985526 h 1189836"/>
              <a:gd name="connsiteX20" fmla="*/ 639997 w 1564191"/>
              <a:gd name="connsiteY20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981979 w 1564191"/>
              <a:gd name="connsiteY6" fmla="*/ 528765 h 1189836"/>
              <a:gd name="connsiteX7" fmla="*/ 1564191 w 1564191"/>
              <a:gd name="connsiteY7" fmla="*/ 0 h 1189836"/>
              <a:gd name="connsiteX8" fmla="*/ 1388017 w 1564191"/>
              <a:gd name="connsiteY8" fmla="*/ 530857 h 1189836"/>
              <a:gd name="connsiteX9" fmla="*/ 1388955 w 1564191"/>
              <a:gd name="connsiteY9" fmla="*/ 530862 h 1189836"/>
              <a:gd name="connsiteX10" fmla="*/ 1388758 w 1564191"/>
              <a:gd name="connsiteY10" fmla="*/ 532748 h 1189836"/>
              <a:gd name="connsiteX11" fmla="*/ 1388961 w 1564191"/>
              <a:gd name="connsiteY11" fmla="*/ 533267 h 1189836"/>
              <a:gd name="connsiteX12" fmla="*/ 1388703 w 1564191"/>
              <a:gd name="connsiteY12" fmla="*/ 533267 h 1189836"/>
              <a:gd name="connsiteX13" fmla="*/ 939150 w 1564191"/>
              <a:gd name="connsiteY13" fmla="*/ 984963 h 1189836"/>
              <a:gd name="connsiteX14" fmla="*/ 939150 w 1564191"/>
              <a:gd name="connsiteY14" fmla="*/ 985526 h 1189836"/>
              <a:gd name="connsiteX15" fmla="*/ 933544 w 1564191"/>
              <a:gd name="connsiteY15" fmla="*/ 985526 h 1189836"/>
              <a:gd name="connsiteX16" fmla="*/ 931752 w 1564191"/>
              <a:gd name="connsiteY16" fmla="*/ 985706 h 1189836"/>
              <a:gd name="connsiteX17" fmla="*/ 931752 w 1564191"/>
              <a:gd name="connsiteY17" fmla="*/ 985526 h 1189836"/>
              <a:gd name="connsiteX18" fmla="*/ 639997 w 1564191"/>
              <a:gd name="connsiteY18" fmla="*/ 985526 h 1189836"/>
              <a:gd name="connsiteX19" fmla="*/ 639997 w 1564191"/>
              <a:gd name="connsiteY19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388017 w 1564191"/>
              <a:gd name="connsiteY7" fmla="*/ 530857 h 1189836"/>
              <a:gd name="connsiteX8" fmla="*/ 1388955 w 1564191"/>
              <a:gd name="connsiteY8" fmla="*/ 530862 h 1189836"/>
              <a:gd name="connsiteX9" fmla="*/ 1388758 w 1564191"/>
              <a:gd name="connsiteY9" fmla="*/ 532748 h 1189836"/>
              <a:gd name="connsiteX10" fmla="*/ 1388961 w 1564191"/>
              <a:gd name="connsiteY10" fmla="*/ 533267 h 1189836"/>
              <a:gd name="connsiteX11" fmla="*/ 1388703 w 1564191"/>
              <a:gd name="connsiteY11" fmla="*/ 533267 h 1189836"/>
              <a:gd name="connsiteX12" fmla="*/ 939150 w 1564191"/>
              <a:gd name="connsiteY12" fmla="*/ 984963 h 1189836"/>
              <a:gd name="connsiteX13" fmla="*/ 939150 w 1564191"/>
              <a:gd name="connsiteY13" fmla="*/ 985526 h 1189836"/>
              <a:gd name="connsiteX14" fmla="*/ 933544 w 1564191"/>
              <a:gd name="connsiteY14" fmla="*/ 985526 h 1189836"/>
              <a:gd name="connsiteX15" fmla="*/ 931752 w 1564191"/>
              <a:gd name="connsiteY15" fmla="*/ 985706 h 1189836"/>
              <a:gd name="connsiteX16" fmla="*/ 931752 w 1564191"/>
              <a:gd name="connsiteY16" fmla="*/ 985526 h 1189836"/>
              <a:gd name="connsiteX17" fmla="*/ 639997 w 1564191"/>
              <a:gd name="connsiteY17" fmla="*/ 985526 h 1189836"/>
              <a:gd name="connsiteX18" fmla="*/ 639997 w 1564191"/>
              <a:gd name="connsiteY18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388017 w 1564191"/>
              <a:gd name="connsiteY7" fmla="*/ 530857 h 1189836"/>
              <a:gd name="connsiteX8" fmla="*/ 1388955 w 1564191"/>
              <a:gd name="connsiteY8" fmla="*/ 530862 h 1189836"/>
              <a:gd name="connsiteX9" fmla="*/ 1388758 w 1564191"/>
              <a:gd name="connsiteY9" fmla="*/ 532748 h 1189836"/>
              <a:gd name="connsiteX10" fmla="*/ 1388961 w 1564191"/>
              <a:gd name="connsiteY10" fmla="*/ 533267 h 1189836"/>
              <a:gd name="connsiteX11" fmla="*/ 1419659 w 1564191"/>
              <a:gd name="connsiteY11" fmla="*/ 535648 h 1189836"/>
              <a:gd name="connsiteX12" fmla="*/ 939150 w 1564191"/>
              <a:gd name="connsiteY12" fmla="*/ 984963 h 1189836"/>
              <a:gd name="connsiteX13" fmla="*/ 939150 w 1564191"/>
              <a:gd name="connsiteY13" fmla="*/ 985526 h 1189836"/>
              <a:gd name="connsiteX14" fmla="*/ 933544 w 1564191"/>
              <a:gd name="connsiteY14" fmla="*/ 985526 h 1189836"/>
              <a:gd name="connsiteX15" fmla="*/ 931752 w 1564191"/>
              <a:gd name="connsiteY15" fmla="*/ 985706 h 1189836"/>
              <a:gd name="connsiteX16" fmla="*/ 931752 w 1564191"/>
              <a:gd name="connsiteY16" fmla="*/ 985526 h 1189836"/>
              <a:gd name="connsiteX17" fmla="*/ 639997 w 1564191"/>
              <a:gd name="connsiteY17" fmla="*/ 985526 h 1189836"/>
              <a:gd name="connsiteX18" fmla="*/ 639997 w 1564191"/>
              <a:gd name="connsiteY18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388017 w 1564191"/>
              <a:gd name="connsiteY7" fmla="*/ 530857 h 1189836"/>
              <a:gd name="connsiteX8" fmla="*/ 1388955 w 1564191"/>
              <a:gd name="connsiteY8" fmla="*/ 530862 h 1189836"/>
              <a:gd name="connsiteX9" fmla="*/ 1388758 w 1564191"/>
              <a:gd name="connsiteY9" fmla="*/ 532748 h 1189836"/>
              <a:gd name="connsiteX10" fmla="*/ 1419659 w 1564191"/>
              <a:gd name="connsiteY10" fmla="*/ 535648 h 1189836"/>
              <a:gd name="connsiteX11" fmla="*/ 939150 w 1564191"/>
              <a:gd name="connsiteY11" fmla="*/ 984963 h 1189836"/>
              <a:gd name="connsiteX12" fmla="*/ 939150 w 1564191"/>
              <a:gd name="connsiteY12" fmla="*/ 985526 h 1189836"/>
              <a:gd name="connsiteX13" fmla="*/ 933544 w 1564191"/>
              <a:gd name="connsiteY13" fmla="*/ 985526 h 1189836"/>
              <a:gd name="connsiteX14" fmla="*/ 931752 w 1564191"/>
              <a:gd name="connsiteY14" fmla="*/ 985706 h 1189836"/>
              <a:gd name="connsiteX15" fmla="*/ 931752 w 1564191"/>
              <a:gd name="connsiteY15" fmla="*/ 985526 h 1189836"/>
              <a:gd name="connsiteX16" fmla="*/ 639997 w 1564191"/>
              <a:gd name="connsiteY16" fmla="*/ 985526 h 1189836"/>
              <a:gd name="connsiteX17" fmla="*/ 639997 w 1564191"/>
              <a:gd name="connsiteY17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388017 w 1564191"/>
              <a:gd name="connsiteY7" fmla="*/ 530857 h 1189836"/>
              <a:gd name="connsiteX8" fmla="*/ 1388955 w 1564191"/>
              <a:gd name="connsiteY8" fmla="*/ 530862 h 1189836"/>
              <a:gd name="connsiteX9" fmla="*/ 1419659 w 1564191"/>
              <a:gd name="connsiteY9" fmla="*/ 535648 h 1189836"/>
              <a:gd name="connsiteX10" fmla="*/ 939150 w 1564191"/>
              <a:gd name="connsiteY10" fmla="*/ 984963 h 1189836"/>
              <a:gd name="connsiteX11" fmla="*/ 939150 w 1564191"/>
              <a:gd name="connsiteY11" fmla="*/ 985526 h 1189836"/>
              <a:gd name="connsiteX12" fmla="*/ 933544 w 1564191"/>
              <a:gd name="connsiteY12" fmla="*/ 985526 h 1189836"/>
              <a:gd name="connsiteX13" fmla="*/ 931752 w 1564191"/>
              <a:gd name="connsiteY13" fmla="*/ 985706 h 1189836"/>
              <a:gd name="connsiteX14" fmla="*/ 931752 w 1564191"/>
              <a:gd name="connsiteY14" fmla="*/ 985526 h 1189836"/>
              <a:gd name="connsiteX15" fmla="*/ 639997 w 1564191"/>
              <a:gd name="connsiteY15" fmla="*/ 985526 h 1189836"/>
              <a:gd name="connsiteX16" fmla="*/ 639997 w 1564191"/>
              <a:gd name="connsiteY16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388017 w 1564191"/>
              <a:gd name="connsiteY7" fmla="*/ 530857 h 1189836"/>
              <a:gd name="connsiteX8" fmla="*/ 1419659 w 1564191"/>
              <a:gd name="connsiteY8" fmla="*/ 535648 h 1189836"/>
              <a:gd name="connsiteX9" fmla="*/ 939150 w 1564191"/>
              <a:gd name="connsiteY9" fmla="*/ 984963 h 1189836"/>
              <a:gd name="connsiteX10" fmla="*/ 939150 w 1564191"/>
              <a:gd name="connsiteY10" fmla="*/ 985526 h 1189836"/>
              <a:gd name="connsiteX11" fmla="*/ 933544 w 1564191"/>
              <a:gd name="connsiteY11" fmla="*/ 985526 h 1189836"/>
              <a:gd name="connsiteX12" fmla="*/ 931752 w 1564191"/>
              <a:gd name="connsiteY12" fmla="*/ 985706 h 1189836"/>
              <a:gd name="connsiteX13" fmla="*/ 931752 w 1564191"/>
              <a:gd name="connsiteY13" fmla="*/ 985526 h 1189836"/>
              <a:gd name="connsiteX14" fmla="*/ 639997 w 1564191"/>
              <a:gd name="connsiteY14" fmla="*/ 985526 h 1189836"/>
              <a:gd name="connsiteX15" fmla="*/ 639997 w 1564191"/>
              <a:gd name="connsiteY15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419659 w 1564191"/>
              <a:gd name="connsiteY7" fmla="*/ 535648 h 1189836"/>
              <a:gd name="connsiteX8" fmla="*/ 939150 w 1564191"/>
              <a:gd name="connsiteY8" fmla="*/ 984963 h 1189836"/>
              <a:gd name="connsiteX9" fmla="*/ 939150 w 1564191"/>
              <a:gd name="connsiteY9" fmla="*/ 985526 h 1189836"/>
              <a:gd name="connsiteX10" fmla="*/ 933544 w 1564191"/>
              <a:gd name="connsiteY10" fmla="*/ 985526 h 1189836"/>
              <a:gd name="connsiteX11" fmla="*/ 931752 w 1564191"/>
              <a:gd name="connsiteY11" fmla="*/ 985706 h 1189836"/>
              <a:gd name="connsiteX12" fmla="*/ 931752 w 1564191"/>
              <a:gd name="connsiteY12" fmla="*/ 985526 h 1189836"/>
              <a:gd name="connsiteX13" fmla="*/ 639997 w 1564191"/>
              <a:gd name="connsiteY13" fmla="*/ 985526 h 1189836"/>
              <a:gd name="connsiteX14" fmla="*/ 639997 w 1564191"/>
              <a:gd name="connsiteY14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419659 w 1564191"/>
              <a:gd name="connsiteY7" fmla="*/ 535648 h 1189836"/>
              <a:gd name="connsiteX8" fmla="*/ 939150 w 1564191"/>
              <a:gd name="connsiteY8" fmla="*/ 984963 h 1189836"/>
              <a:gd name="connsiteX9" fmla="*/ 939150 w 1564191"/>
              <a:gd name="connsiteY9" fmla="*/ 985526 h 1189836"/>
              <a:gd name="connsiteX10" fmla="*/ 933544 w 1564191"/>
              <a:gd name="connsiteY10" fmla="*/ 985526 h 1189836"/>
              <a:gd name="connsiteX11" fmla="*/ 931752 w 1564191"/>
              <a:gd name="connsiteY11" fmla="*/ 985706 h 1189836"/>
              <a:gd name="connsiteX12" fmla="*/ 931752 w 1564191"/>
              <a:gd name="connsiteY12" fmla="*/ 985526 h 1189836"/>
              <a:gd name="connsiteX13" fmla="*/ 639997 w 1564191"/>
              <a:gd name="connsiteY13" fmla="*/ 985526 h 1189836"/>
              <a:gd name="connsiteX14" fmla="*/ 639997 w 1564191"/>
              <a:gd name="connsiteY14" fmla="*/ 1189836 h 118983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939150 w 1938047"/>
              <a:gd name="connsiteY4" fmla="*/ 481656 h 1094586"/>
              <a:gd name="connsiteX5" fmla="*/ 939150 w 1938047"/>
              <a:gd name="connsiteY5" fmla="*/ 481988 h 1094586"/>
              <a:gd name="connsiteX6" fmla="*/ 1938047 w 1938047"/>
              <a:gd name="connsiteY6" fmla="*/ 0 h 1094586"/>
              <a:gd name="connsiteX7" fmla="*/ 1419659 w 1938047"/>
              <a:gd name="connsiteY7" fmla="*/ 440398 h 1094586"/>
              <a:gd name="connsiteX8" fmla="*/ 939150 w 1938047"/>
              <a:gd name="connsiteY8" fmla="*/ 889713 h 1094586"/>
              <a:gd name="connsiteX9" fmla="*/ 939150 w 1938047"/>
              <a:gd name="connsiteY9" fmla="*/ 890276 h 1094586"/>
              <a:gd name="connsiteX10" fmla="*/ 933544 w 1938047"/>
              <a:gd name="connsiteY10" fmla="*/ 890276 h 1094586"/>
              <a:gd name="connsiteX11" fmla="*/ 931752 w 1938047"/>
              <a:gd name="connsiteY11" fmla="*/ 890456 h 1094586"/>
              <a:gd name="connsiteX12" fmla="*/ 931752 w 1938047"/>
              <a:gd name="connsiteY12" fmla="*/ 890276 h 1094586"/>
              <a:gd name="connsiteX13" fmla="*/ 639997 w 1938047"/>
              <a:gd name="connsiteY13" fmla="*/ 890276 h 1094586"/>
              <a:gd name="connsiteX14" fmla="*/ 639997 w 1938047"/>
              <a:gd name="connsiteY14" fmla="*/ 1094586 h 109458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939150 w 1938047"/>
              <a:gd name="connsiteY4" fmla="*/ 481656 h 1094586"/>
              <a:gd name="connsiteX5" fmla="*/ 939150 w 1938047"/>
              <a:gd name="connsiteY5" fmla="*/ 481988 h 1094586"/>
              <a:gd name="connsiteX6" fmla="*/ 1938047 w 1938047"/>
              <a:gd name="connsiteY6" fmla="*/ 0 h 1094586"/>
              <a:gd name="connsiteX7" fmla="*/ 1483952 w 1938047"/>
              <a:gd name="connsiteY7" fmla="*/ 502310 h 1094586"/>
              <a:gd name="connsiteX8" fmla="*/ 939150 w 1938047"/>
              <a:gd name="connsiteY8" fmla="*/ 889713 h 1094586"/>
              <a:gd name="connsiteX9" fmla="*/ 939150 w 1938047"/>
              <a:gd name="connsiteY9" fmla="*/ 890276 h 1094586"/>
              <a:gd name="connsiteX10" fmla="*/ 933544 w 1938047"/>
              <a:gd name="connsiteY10" fmla="*/ 890276 h 1094586"/>
              <a:gd name="connsiteX11" fmla="*/ 931752 w 1938047"/>
              <a:gd name="connsiteY11" fmla="*/ 890456 h 1094586"/>
              <a:gd name="connsiteX12" fmla="*/ 931752 w 1938047"/>
              <a:gd name="connsiteY12" fmla="*/ 890276 h 1094586"/>
              <a:gd name="connsiteX13" fmla="*/ 639997 w 1938047"/>
              <a:gd name="connsiteY13" fmla="*/ 890276 h 1094586"/>
              <a:gd name="connsiteX14" fmla="*/ 639997 w 1938047"/>
              <a:gd name="connsiteY14" fmla="*/ 1094586 h 109458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939150 w 1938047"/>
              <a:gd name="connsiteY4" fmla="*/ 481656 h 1094586"/>
              <a:gd name="connsiteX5" fmla="*/ 939150 w 1938047"/>
              <a:gd name="connsiteY5" fmla="*/ 481988 h 1094586"/>
              <a:gd name="connsiteX6" fmla="*/ 1938047 w 1938047"/>
              <a:gd name="connsiteY6" fmla="*/ 0 h 1094586"/>
              <a:gd name="connsiteX7" fmla="*/ 1483952 w 1938047"/>
              <a:gd name="connsiteY7" fmla="*/ 502310 h 1094586"/>
              <a:gd name="connsiteX8" fmla="*/ 939150 w 1938047"/>
              <a:gd name="connsiteY8" fmla="*/ 889713 h 1094586"/>
              <a:gd name="connsiteX9" fmla="*/ 939150 w 1938047"/>
              <a:gd name="connsiteY9" fmla="*/ 890276 h 1094586"/>
              <a:gd name="connsiteX10" fmla="*/ 933544 w 1938047"/>
              <a:gd name="connsiteY10" fmla="*/ 890276 h 1094586"/>
              <a:gd name="connsiteX11" fmla="*/ 931752 w 1938047"/>
              <a:gd name="connsiteY11" fmla="*/ 890456 h 1094586"/>
              <a:gd name="connsiteX12" fmla="*/ 931752 w 1938047"/>
              <a:gd name="connsiteY12" fmla="*/ 890276 h 1094586"/>
              <a:gd name="connsiteX13" fmla="*/ 639997 w 1938047"/>
              <a:gd name="connsiteY13" fmla="*/ 890276 h 1094586"/>
              <a:gd name="connsiteX14" fmla="*/ 639997 w 1938047"/>
              <a:gd name="connsiteY14" fmla="*/ 1094586 h 109458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939150 w 1938047"/>
              <a:gd name="connsiteY4" fmla="*/ 481656 h 1094586"/>
              <a:gd name="connsiteX5" fmla="*/ 1938047 w 1938047"/>
              <a:gd name="connsiteY5" fmla="*/ 0 h 1094586"/>
              <a:gd name="connsiteX6" fmla="*/ 1483952 w 1938047"/>
              <a:gd name="connsiteY6" fmla="*/ 502310 h 1094586"/>
              <a:gd name="connsiteX7" fmla="*/ 939150 w 1938047"/>
              <a:gd name="connsiteY7" fmla="*/ 889713 h 1094586"/>
              <a:gd name="connsiteX8" fmla="*/ 939150 w 1938047"/>
              <a:gd name="connsiteY8" fmla="*/ 890276 h 1094586"/>
              <a:gd name="connsiteX9" fmla="*/ 933544 w 1938047"/>
              <a:gd name="connsiteY9" fmla="*/ 890276 h 1094586"/>
              <a:gd name="connsiteX10" fmla="*/ 931752 w 1938047"/>
              <a:gd name="connsiteY10" fmla="*/ 890456 h 1094586"/>
              <a:gd name="connsiteX11" fmla="*/ 931752 w 1938047"/>
              <a:gd name="connsiteY11" fmla="*/ 890276 h 1094586"/>
              <a:gd name="connsiteX12" fmla="*/ 639997 w 1938047"/>
              <a:gd name="connsiteY12" fmla="*/ 890276 h 1094586"/>
              <a:gd name="connsiteX13" fmla="*/ 639997 w 1938047"/>
              <a:gd name="connsiteY13" fmla="*/ 1094586 h 109458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1938047 w 1938047"/>
              <a:gd name="connsiteY4" fmla="*/ 0 h 1094586"/>
              <a:gd name="connsiteX5" fmla="*/ 1483952 w 1938047"/>
              <a:gd name="connsiteY5" fmla="*/ 502310 h 1094586"/>
              <a:gd name="connsiteX6" fmla="*/ 939150 w 1938047"/>
              <a:gd name="connsiteY6" fmla="*/ 889713 h 1094586"/>
              <a:gd name="connsiteX7" fmla="*/ 939150 w 1938047"/>
              <a:gd name="connsiteY7" fmla="*/ 890276 h 1094586"/>
              <a:gd name="connsiteX8" fmla="*/ 933544 w 1938047"/>
              <a:gd name="connsiteY8" fmla="*/ 890276 h 1094586"/>
              <a:gd name="connsiteX9" fmla="*/ 931752 w 1938047"/>
              <a:gd name="connsiteY9" fmla="*/ 890456 h 1094586"/>
              <a:gd name="connsiteX10" fmla="*/ 931752 w 1938047"/>
              <a:gd name="connsiteY10" fmla="*/ 890276 h 1094586"/>
              <a:gd name="connsiteX11" fmla="*/ 639997 w 1938047"/>
              <a:gd name="connsiteY11" fmla="*/ 890276 h 1094586"/>
              <a:gd name="connsiteX12" fmla="*/ 639997 w 1938047"/>
              <a:gd name="connsiteY12" fmla="*/ 1094586 h 109458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1938047 w 1938047"/>
              <a:gd name="connsiteY4" fmla="*/ 0 h 1094586"/>
              <a:gd name="connsiteX5" fmla="*/ 1483952 w 1938047"/>
              <a:gd name="connsiteY5" fmla="*/ 502310 h 1094586"/>
              <a:gd name="connsiteX6" fmla="*/ 939150 w 1938047"/>
              <a:gd name="connsiteY6" fmla="*/ 889713 h 1094586"/>
              <a:gd name="connsiteX7" fmla="*/ 939150 w 1938047"/>
              <a:gd name="connsiteY7" fmla="*/ 890276 h 1094586"/>
              <a:gd name="connsiteX8" fmla="*/ 933544 w 1938047"/>
              <a:gd name="connsiteY8" fmla="*/ 890276 h 1094586"/>
              <a:gd name="connsiteX9" fmla="*/ 931752 w 1938047"/>
              <a:gd name="connsiteY9" fmla="*/ 890456 h 1094586"/>
              <a:gd name="connsiteX10" fmla="*/ 931752 w 1938047"/>
              <a:gd name="connsiteY10" fmla="*/ 890276 h 1094586"/>
              <a:gd name="connsiteX11" fmla="*/ 639997 w 1938047"/>
              <a:gd name="connsiteY11" fmla="*/ 890276 h 1094586"/>
              <a:gd name="connsiteX12" fmla="*/ 639997 w 1938047"/>
              <a:gd name="connsiteY12" fmla="*/ 1094586 h 109458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1938047 w 1938047"/>
              <a:gd name="connsiteY4" fmla="*/ 0 h 1094586"/>
              <a:gd name="connsiteX5" fmla="*/ 1483952 w 1938047"/>
              <a:gd name="connsiteY5" fmla="*/ 502310 h 1094586"/>
              <a:gd name="connsiteX6" fmla="*/ 939150 w 1938047"/>
              <a:gd name="connsiteY6" fmla="*/ 889713 h 1094586"/>
              <a:gd name="connsiteX7" fmla="*/ 939150 w 1938047"/>
              <a:gd name="connsiteY7" fmla="*/ 890276 h 1094586"/>
              <a:gd name="connsiteX8" fmla="*/ 933544 w 1938047"/>
              <a:gd name="connsiteY8" fmla="*/ 890276 h 1094586"/>
              <a:gd name="connsiteX9" fmla="*/ 931752 w 1938047"/>
              <a:gd name="connsiteY9" fmla="*/ 890456 h 1094586"/>
              <a:gd name="connsiteX10" fmla="*/ 931752 w 1938047"/>
              <a:gd name="connsiteY10" fmla="*/ 890276 h 1094586"/>
              <a:gd name="connsiteX11" fmla="*/ 639997 w 1938047"/>
              <a:gd name="connsiteY11" fmla="*/ 890276 h 1094586"/>
              <a:gd name="connsiteX12" fmla="*/ 639997 w 1938047"/>
              <a:gd name="connsiteY12" fmla="*/ 1094586 h 1094586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39227 w 1860409"/>
              <a:gd name="connsiteY5" fmla="*/ 717971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39227 w 1860409"/>
              <a:gd name="connsiteY5" fmla="*/ 717971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90986 w 1860409"/>
              <a:gd name="connsiteY5" fmla="*/ 700718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90986 w 1860409"/>
              <a:gd name="connsiteY5" fmla="*/ 700718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90986 w 1860409"/>
              <a:gd name="connsiteY5" fmla="*/ 700718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90986 w 1860409"/>
              <a:gd name="connsiteY5" fmla="*/ 700718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90986 w 1860409"/>
              <a:gd name="connsiteY5" fmla="*/ 700718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90986 w 1860409"/>
              <a:gd name="connsiteY5" fmla="*/ 700718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974"/>
              <a:gd name="connsiteY0" fmla="*/ 1275741 h 1275741"/>
              <a:gd name="connsiteX1" fmla="*/ 0 w 1860974"/>
              <a:gd name="connsiteY1" fmla="*/ 867121 h 1275741"/>
              <a:gd name="connsiteX2" fmla="*/ 639997 w 1860974"/>
              <a:gd name="connsiteY2" fmla="*/ 458501 h 1275741"/>
              <a:gd name="connsiteX3" fmla="*/ 639997 w 1860974"/>
              <a:gd name="connsiteY3" fmla="*/ 662811 h 1275741"/>
              <a:gd name="connsiteX4" fmla="*/ 1860409 w 1860974"/>
              <a:gd name="connsiteY4" fmla="*/ 0 h 1275741"/>
              <a:gd name="connsiteX5" fmla="*/ 1690986 w 1860974"/>
              <a:gd name="connsiteY5" fmla="*/ 700718 h 1275741"/>
              <a:gd name="connsiteX6" fmla="*/ 939150 w 1860974"/>
              <a:gd name="connsiteY6" fmla="*/ 1070868 h 1275741"/>
              <a:gd name="connsiteX7" fmla="*/ 939150 w 1860974"/>
              <a:gd name="connsiteY7" fmla="*/ 1071431 h 1275741"/>
              <a:gd name="connsiteX8" fmla="*/ 933544 w 1860974"/>
              <a:gd name="connsiteY8" fmla="*/ 1071431 h 1275741"/>
              <a:gd name="connsiteX9" fmla="*/ 931752 w 1860974"/>
              <a:gd name="connsiteY9" fmla="*/ 1071611 h 1275741"/>
              <a:gd name="connsiteX10" fmla="*/ 931752 w 1860974"/>
              <a:gd name="connsiteY10" fmla="*/ 1071431 h 1275741"/>
              <a:gd name="connsiteX11" fmla="*/ 639997 w 1860974"/>
              <a:gd name="connsiteY11" fmla="*/ 1071431 h 1275741"/>
              <a:gd name="connsiteX12" fmla="*/ 639997 w 1860974"/>
              <a:gd name="connsiteY12" fmla="*/ 1275741 h 1275741"/>
              <a:gd name="connsiteX0" fmla="*/ 657407 w 1878384"/>
              <a:gd name="connsiteY0" fmla="*/ 1275741 h 1275741"/>
              <a:gd name="connsiteX1" fmla="*/ 0 w 1878384"/>
              <a:gd name="connsiteY1" fmla="*/ 806186 h 1275741"/>
              <a:gd name="connsiteX2" fmla="*/ 657407 w 1878384"/>
              <a:gd name="connsiteY2" fmla="*/ 458501 h 1275741"/>
              <a:gd name="connsiteX3" fmla="*/ 657407 w 1878384"/>
              <a:gd name="connsiteY3" fmla="*/ 662811 h 1275741"/>
              <a:gd name="connsiteX4" fmla="*/ 1877819 w 1878384"/>
              <a:gd name="connsiteY4" fmla="*/ 0 h 1275741"/>
              <a:gd name="connsiteX5" fmla="*/ 1708396 w 1878384"/>
              <a:gd name="connsiteY5" fmla="*/ 700718 h 1275741"/>
              <a:gd name="connsiteX6" fmla="*/ 956560 w 1878384"/>
              <a:gd name="connsiteY6" fmla="*/ 1070868 h 1275741"/>
              <a:gd name="connsiteX7" fmla="*/ 956560 w 1878384"/>
              <a:gd name="connsiteY7" fmla="*/ 1071431 h 1275741"/>
              <a:gd name="connsiteX8" fmla="*/ 950954 w 1878384"/>
              <a:gd name="connsiteY8" fmla="*/ 1071431 h 1275741"/>
              <a:gd name="connsiteX9" fmla="*/ 949162 w 1878384"/>
              <a:gd name="connsiteY9" fmla="*/ 1071611 h 1275741"/>
              <a:gd name="connsiteX10" fmla="*/ 949162 w 1878384"/>
              <a:gd name="connsiteY10" fmla="*/ 1071431 h 1275741"/>
              <a:gd name="connsiteX11" fmla="*/ 657407 w 1878384"/>
              <a:gd name="connsiteY11" fmla="*/ 1071431 h 1275741"/>
              <a:gd name="connsiteX12" fmla="*/ 657407 w 1878384"/>
              <a:gd name="connsiteY12" fmla="*/ 1275741 h 1275741"/>
              <a:gd name="connsiteX0" fmla="*/ 648701 w 1869678"/>
              <a:gd name="connsiteY0" fmla="*/ 1275741 h 1275741"/>
              <a:gd name="connsiteX1" fmla="*/ 0 w 1869678"/>
              <a:gd name="connsiteY1" fmla="*/ 745250 h 1275741"/>
              <a:gd name="connsiteX2" fmla="*/ 648701 w 1869678"/>
              <a:gd name="connsiteY2" fmla="*/ 458501 h 1275741"/>
              <a:gd name="connsiteX3" fmla="*/ 648701 w 1869678"/>
              <a:gd name="connsiteY3" fmla="*/ 662811 h 1275741"/>
              <a:gd name="connsiteX4" fmla="*/ 1869113 w 1869678"/>
              <a:gd name="connsiteY4" fmla="*/ 0 h 1275741"/>
              <a:gd name="connsiteX5" fmla="*/ 1699690 w 1869678"/>
              <a:gd name="connsiteY5" fmla="*/ 700718 h 1275741"/>
              <a:gd name="connsiteX6" fmla="*/ 947854 w 1869678"/>
              <a:gd name="connsiteY6" fmla="*/ 1070868 h 1275741"/>
              <a:gd name="connsiteX7" fmla="*/ 947854 w 1869678"/>
              <a:gd name="connsiteY7" fmla="*/ 1071431 h 1275741"/>
              <a:gd name="connsiteX8" fmla="*/ 942248 w 1869678"/>
              <a:gd name="connsiteY8" fmla="*/ 1071431 h 1275741"/>
              <a:gd name="connsiteX9" fmla="*/ 940456 w 1869678"/>
              <a:gd name="connsiteY9" fmla="*/ 1071611 h 1275741"/>
              <a:gd name="connsiteX10" fmla="*/ 940456 w 1869678"/>
              <a:gd name="connsiteY10" fmla="*/ 1071431 h 1275741"/>
              <a:gd name="connsiteX11" fmla="*/ 648701 w 1869678"/>
              <a:gd name="connsiteY11" fmla="*/ 1071431 h 1275741"/>
              <a:gd name="connsiteX12" fmla="*/ 648701 w 1869678"/>
              <a:gd name="connsiteY12" fmla="*/ 1275741 h 1275741"/>
              <a:gd name="connsiteX0" fmla="*/ 648701 w 1869678"/>
              <a:gd name="connsiteY0" fmla="*/ 1275741 h 1275741"/>
              <a:gd name="connsiteX1" fmla="*/ 0 w 1869678"/>
              <a:gd name="connsiteY1" fmla="*/ 745250 h 1275741"/>
              <a:gd name="connsiteX2" fmla="*/ 692227 w 1869678"/>
              <a:gd name="connsiteY2" fmla="*/ 467206 h 1275741"/>
              <a:gd name="connsiteX3" fmla="*/ 648701 w 1869678"/>
              <a:gd name="connsiteY3" fmla="*/ 662811 h 1275741"/>
              <a:gd name="connsiteX4" fmla="*/ 1869113 w 1869678"/>
              <a:gd name="connsiteY4" fmla="*/ 0 h 1275741"/>
              <a:gd name="connsiteX5" fmla="*/ 1699690 w 1869678"/>
              <a:gd name="connsiteY5" fmla="*/ 700718 h 1275741"/>
              <a:gd name="connsiteX6" fmla="*/ 947854 w 1869678"/>
              <a:gd name="connsiteY6" fmla="*/ 1070868 h 1275741"/>
              <a:gd name="connsiteX7" fmla="*/ 947854 w 1869678"/>
              <a:gd name="connsiteY7" fmla="*/ 1071431 h 1275741"/>
              <a:gd name="connsiteX8" fmla="*/ 942248 w 1869678"/>
              <a:gd name="connsiteY8" fmla="*/ 1071431 h 1275741"/>
              <a:gd name="connsiteX9" fmla="*/ 940456 w 1869678"/>
              <a:gd name="connsiteY9" fmla="*/ 1071611 h 1275741"/>
              <a:gd name="connsiteX10" fmla="*/ 940456 w 1869678"/>
              <a:gd name="connsiteY10" fmla="*/ 1071431 h 1275741"/>
              <a:gd name="connsiteX11" fmla="*/ 648701 w 1869678"/>
              <a:gd name="connsiteY11" fmla="*/ 1071431 h 1275741"/>
              <a:gd name="connsiteX12" fmla="*/ 648701 w 1869678"/>
              <a:gd name="connsiteY12" fmla="*/ 1275741 h 1275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869678" h="1275741">
                <a:moveTo>
                  <a:pt x="648701" y="1275741"/>
                </a:moveTo>
                <a:lnTo>
                  <a:pt x="0" y="745250"/>
                </a:lnTo>
                <a:lnTo>
                  <a:pt x="692227" y="467206"/>
                </a:lnTo>
                <a:lnTo>
                  <a:pt x="648701" y="662811"/>
                </a:lnTo>
                <a:cubicBezTo>
                  <a:pt x="1357429" y="830061"/>
                  <a:pt x="1695222" y="453850"/>
                  <a:pt x="1869113" y="0"/>
                </a:cubicBezTo>
                <a:cubicBezTo>
                  <a:pt x="1874698" y="336676"/>
                  <a:pt x="1840380" y="504920"/>
                  <a:pt x="1699690" y="700718"/>
                </a:cubicBezTo>
                <a:cubicBezTo>
                  <a:pt x="1447095" y="992167"/>
                  <a:pt x="1195243" y="1067624"/>
                  <a:pt x="947854" y="1070868"/>
                </a:cubicBezTo>
                <a:lnTo>
                  <a:pt x="947854" y="1071431"/>
                </a:lnTo>
                <a:lnTo>
                  <a:pt x="942248" y="1071431"/>
                </a:lnTo>
                <a:cubicBezTo>
                  <a:pt x="941652" y="1071610"/>
                  <a:pt x="941054" y="1071611"/>
                  <a:pt x="940456" y="1071611"/>
                </a:cubicBezTo>
                <a:lnTo>
                  <a:pt x="940456" y="1071431"/>
                </a:lnTo>
                <a:lnTo>
                  <a:pt x="648701" y="1071431"/>
                </a:lnTo>
                <a:lnTo>
                  <a:pt x="648701" y="127574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cs typeface="+mn-cs"/>
            </a:endParaRPr>
          </a:p>
        </p:txBody>
      </p:sp>
      <p:sp>
        <p:nvSpPr>
          <p:cNvPr id="16" name="Left Arrow 2">
            <a:extLst>
              <a:ext uri="{FF2B5EF4-FFF2-40B4-BE49-F238E27FC236}">
                <a16:creationId xmlns:a16="http://schemas.microsoft.com/office/drawing/2014/main" id="{D76689A1-2753-41BE-800A-89B832272AB9}"/>
              </a:ext>
            </a:extLst>
          </p:cNvPr>
          <p:cNvSpPr/>
          <p:nvPr/>
        </p:nvSpPr>
        <p:spPr>
          <a:xfrm rot="20896797">
            <a:off x="7846642" y="4020846"/>
            <a:ext cx="618662" cy="422134"/>
          </a:xfrm>
          <a:custGeom>
            <a:avLst/>
            <a:gdLst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981979 w 1564191"/>
              <a:gd name="connsiteY6" fmla="*/ 528765 h 1189836"/>
              <a:gd name="connsiteX7" fmla="*/ 983944 w 1564191"/>
              <a:gd name="connsiteY7" fmla="*/ 528775 h 1189836"/>
              <a:gd name="connsiteX8" fmla="*/ 1564191 w 1564191"/>
              <a:gd name="connsiteY8" fmla="*/ 0 h 1189836"/>
              <a:gd name="connsiteX9" fmla="*/ 1388017 w 1564191"/>
              <a:gd name="connsiteY9" fmla="*/ 530857 h 1189836"/>
              <a:gd name="connsiteX10" fmla="*/ 1388955 w 1564191"/>
              <a:gd name="connsiteY10" fmla="*/ 530862 h 1189836"/>
              <a:gd name="connsiteX11" fmla="*/ 1388758 w 1564191"/>
              <a:gd name="connsiteY11" fmla="*/ 532748 h 1189836"/>
              <a:gd name="connsiteX12" fmla="*/ 1388961 w 1564191"/>
              <a:gd name="connsiteY12" fmla="*/ 533267 h 1189836"/>
              <a:gd name="connsiteX13" fmla="*/ 1388703 w 1564191"/>
              <a:gd name="connsiteY13" fmla="*/ 533267 h 1189836"/>
              <a:gd name="connsiteX14" fmla="*/ 939150 w 1564191"/>
              <a:gd name="connsiteY14" fmla="*/ 984963 h 1189836"/>
              <a:gd name="connsiteX15" fmla="*/ 939150 w 1564191"/>
              <a:gd name="connsiteY15" fmla="*/ 985526 h 1189836"/>
              <a:gd name="connsiteX16" fmla="*/ 933544 w 1564191"/>
              <a:gd name="connsiteY16" fmla="*/ 985526 h 1189836"/>
              <a:gd name="connsiteX17" fmla="*/ 931752 w 1564191"/>
              <a:gd name="connsiteY17" fmla="*/ 985706 h 1189836"/>
              <a:gd name="connsiteX18" fmla="*/ 931752 w 1564191"/>
              <a:gd name="connsiteY18" fmla="*/ 985526 h 1189836"/>
              <a:gd name="connsiteX19" fmla="*/ 639997 w 1564191"/>
              <a:gd name="connsiteY19" fmla="*/ 985526 h 1189836"/>
              <a:gd name="connsiteX20" fmla="*/ 639997 w 1564191"/>
              <a:gd name="connsiteY20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981979 w 1564191"/>
              <a:gd name="connsiteY6" fmla="*/ 528765 h 1189836"/>
              <a:gd name="connsiteX7" fmla="*/ 983944 w 1564191"/>
              <a:gd name="connsiteY7" fmla="*/ 528775 h 1189836"/>
              <a:gd name="connsiteX8" fmla="*/ 1564191 w 1564191"/>
              <a:gd name="connsiteY8" fmla="*/ 0 h 1189836"/>
              <a:gd name="connsiteX9" fmla="*/ 1388017 w 1564191"/>
              <a:gd name="connsiteY9" fmla="*/ 530857 h 1189836"/>
              <a:gd name="connsiteX10" fmla="*/ 1388955 w 1564191"/>
              <a:gd name="connsiteY10" fmla="*/ 530862 h 1189836"/>
              <a:gd name="connsiteX11" fmla="*/ 1388758 w 1564191"/>
              <a:gd name="connsiteY11" fmla="*/ 532748 h 1189836"/>
              <a:gd name="connsiteX12" fmla="*/ 1388961 w 1564191"/>
              <a:gd name="connsiteY12" fmla="*/ 533267 h 1189836"/>
              <a:gd name="connsiteX13" fmla="*/ 1388703 w 1564191"/>
              <a:gd name="connsiteY13" fmla="*/ 533267 h 1189836"/>
              <a:gd name="connsiteX14" fmla="*/ 939150 w 1564191"/>
              <a:gd name="connsiteY14" fmla="*/ 984963 h 1189836"/>
              <a:gd name="connsiteX15" fmla="*/ 939150 w 1564191"/>
              <a:gd name="connsiteY15" fmla="*/ 985526 h 1189836"/>
              <a:gd name="connsiteX16" fmla="*/ 933544 w 1564191"/>
              <a:gd name="connsiteY16" fmla="*/ 985526 h 1189836"/>
              <a:gd name="connsiteX17" fmla="*/ 931752 w 1564191"/>
              <a:gd name="connsiteY17" fmla="*/ 985706 h 1189836"/>
              <a:gd name="connsiteX18" fmla="*/ 931752 w 1564191"/>
              <a:gd name="connsiteY18" fmla="*/ 985526 h 1189836"/>
              <a:gd name="connsiteX19" fmla="*/ 639997 w 1564191"/>
              <a:gd name="connsiteY19" fmla="*/ 985526 h 1189836"/>
              <a:gd name="connsiteX20" fmla="*/ 639997 w 1564191"/>
              <a:gd name="connsiteY20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981979 w 1564191"/>
              <a:gd name="connsiteY6" fmla="*/ 528765 h 1189836"/>
              <a:gd name="connsiteX7" fmla="*/ 1564191 w 1564191"/>
              <a:gd name="connsiteY7" fmla="*/ 0 h 1189836"/>
              <a:gd name="connsiteX8" fmla="*/ 1388017 w 1564191"/>
              <a:gd name="connsiteY8" fmla="*/ 530857 h 1189836"/>
              <a:gd name="connsiteX9" fmla="*/ 1388955 w 1564191"/>
              <a:gd name="connsiteY9" fmla="*/ 530862 h 1189836"/>
              <a:gd name="connsiteX10" fmla="*/ 1388758 w 1564191"/>
              <a:gd name="connsiteY10" fmla="*/ 532748 h 1189836"/>
              <a:gd name="connsiteX11" fmla="*/ 1388961 w 1564191"/>
              <a:gd name="connsiteY11" fmla="*/ 533267 h 1189836"/>
              <a:gd name="connsiteX12" fmla="*/ 1388703 w 1564191"/>
              <a:gd name="connsiteY12" fmla="*/ 533267 h 1189836"/>
              <a:gd name="connsiteX13" fmla="*/ 939150 w 1564191"/>
              <a:gd name="connsiteY13" fmla="*/ 984963 h 1189836"/>
              <a:gd name="connsiteX14" fmla="*/ 939150 w 1564191"/>
              <a:gd name="connsiteY14" fmla="*/ 985526 h 1189836"/>
              <a:gd name="connsiteX15" fmla="*/ 933544 w 1564191"/>
              <a:gd name="connsiteY15" fmla="*/ 985526 h 1189836"/>
              <a:gd name="connsiteX16" fmla="*/ 931752 w 1564191"/>
              <a:gd name="connsiteY16" fmla="*/ 985706 h 1189836"/>
              <a:gd name="connsiteX17" fmla="*/ 931752 w 1564191"/>
              <a:gd name="connsiteY17" fmla="*/ 985526 h 1189836"/>
              <a:gd name="connsiteX18" fmla="*/ 639997 w 1564191"/>
              <a:gd name="connsiteY18" fmla="*/ 985526 h 1189836"/>
              <a:gd name="connsiteX19" fmla="*/ 639997 w 1564191"/>
              <a:gd name="connsiteY19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388017 w 1564191"/>
              <a:gd name="connsiteY7" fmla="*/ 530857 h 1189836"/>
              <a:gd name="connsiteX8" fmla="*/ 1388955 w 1564191"/>
              <a:gd name="connsiteY8" fmla="*/ 530862 h 1189836"/>
              <a:gd name="connsiteX9" fmla="*/ 1388758 w 1564191"/>
              <a:gd name="connsiteY9" fmla="*/ 532748 h 1189836"/>
              <a:gd name="connsiteX10" fmla="*/ 1388961 w 1564191"/>
              <a:gd name="connsiteY10" fmla="*/ 533267 h 1189836"/>
              <a:gd name="connsiteX11" fmla="*/ 1388703 w 1564191"/>
              <a:gd name="connsiteY11" fmla="*/ 533267 h 1189836"/>
              <a:gd name="connsiteX12" fmla="*/ 939150 w 1564191"/>
              <a:gd name="connsiteY12" fmla="*/ 984963 h 1189836"/>
              <a:gd name="connsiteX13" fmla="*/ 939150 w 1564191"/>
              <a:gd name="connsiteY13" fmla="*/ 985526 h 1189836"/>
              <a:gd name="connsiteX14" fmla="*/ 933544 w 1564191"/>
              <a:gd name="connsiteY14" fmla="*/ 985526 h 1189836"/>
              <a:gd name="connsiteX15" fmla="*/ 931752 w 1564191"/>
              <a:gd name="connsiteY15" fmla="*/ 985706 h 1189836"/>
              <a:gd name="connsiteX16" fmla="*/ 931752 w 1564191"/>
              <a:gd name="connsiteY16" fmla="*/ 985526 h 1189836"/>
              <a:gd name="connsiteX17" fmla="*/ 639997 w 1564191"/>
              <a:gd name="connsiteY17" fmla="*/ 985526 h 1189836"/>
              <a:gd name="connsiteX18" fmla="*/ 639997 w 1564191"/>
              <a:gd name="connsiteY18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388017 w 1564191"/>
              <a:gd name="connsiteY7" fmla="*/ 530857 h 1189836"/>
              <a:gd name="connsiteX8" fmla="*/ 1388955 w 1564191"/>
              <a:gd name="connsiteY8" fmla="*/ 530862 h 1189836"/>
              <a:gd name="connsiteX9" fmla="*/ 1388758 w 1564191"/>
              <a:gd name="connsiteY9" fmla="*/ 532748 h 1189836"/>
              <a:gd name="connsiteX10" fmla="*/ 1388961 w 1564191"/>
              <a:gd name="connsiteY10" fmla="*/ 533267 h 1189836"/>
              <a:gd name="connsiteX11" fmla="*/ 1419659 w 1564191"/>
              <a:gd name="connsiteY11" fmla="*/ 535648 h 1189836"/>
              <a:gd name="connsiteX12" fmla="*/ 939150 w 1564191"/>
              <a:gd name="connsiteY12" fmla="*/ 984963 h 1189836"/>
              <a:gd name="connsiteX13" fmla="*/ 939150 w 1564191"/>
              <a:gd name="connsiteY13" fmla="*/ 985526 h 1189836"/>
              <a:gd name="connsiteX14" fmla="*/ 933544 w 1564191"/>
              <a:gd name="connsiteY14" fmla="*/ 985526 h 1189836"/>
              <a:gd name="connsiteX15" fmla="*/ 931752 w 1564191"/>
              <a:gd name="connsiteY15" fmla="*/ 985706 h 1189836"/>
              <a:gd name="connsiteX16" fmla="*/ 931752 w 1564191"/>
              <a:gd name="connsiteY16" fmla="*/ 985526 h 1189836"/>
              <a:gd name="connsiteX17" fmla="*/ 639997 w 1564191"/>
              <a:gd name="connsiteY17" fmla="*/ 985526 h 1189836"/>
              <a:gd name="connsiteX18" fmla="*/ 639997 w 1564191"/>
              <a:gd name="connsiteY18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388017 w 1564191"/>
              <a:gd name="connsiteY7" fmla="*/ 530857 h 1189836"/>
              <a:gd name="connsiteX8" fmla="*/ 1388955 w 1564191"/>
              <a:gd name="connsiteY8" fmla="*/ 530862 h 1189836"/>
              <a:gd name="connsiteX9" fmla="*/ 1388758 w 1564191"/>
              <a:gd name="connsiteY9" fmla="*/ 532748 h 1189836"/>
              <a:gd name="connsiteX10" fmla="*/ 1419659 w 1564191"/>
              <a:gd name="connsiteY10" fmla="*/ 535648 h 1189836"/>
              <a:gd name="connsiteX11" fmla="*/ 939150 w 1564191"/>
              <a:gd name="connsiteY11" fmla="*/ 984963 h 1189836"/>
              <a:gd name="connsiteX12" fmla="*/ 939150 w 1564191"/>
              <a:gd name="connsiteY12" fmla="*/ 985526 h 1189836"/>
              <a:gd name="connsiteX13" fmla="*/ 933544 w 1564191"/>
              <a:gd name="connsiteY13" fmla="*/ 985526 h 1189836"/>
              <a:gd name="connsiteX14" fmla="*/ 931752 w 1564191"/>
              <a:gd name="connsiteY14" fmla="*/ 985706 h 1189836"/>
              <a:gd name="connsiteX15" fmla="*/ 931752 w 1564191"/>
              <a:gd name="connsiteY15" fmla="*/ 985526 h 1189836"/>
              <a:gd name="connsiteX16" fmla="*/ 639997 w 1564191"/>
              <a:gd name="connsiteY16" fmla="*/ 985526 h 1189836"/>
              <a:gd name="connsiteX17" fmla="*/ 639997 w 1564191"/>
              <a:gd name="connsiteY17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388017 w 1564191"/>
              <a:gd name="connsiteY7" fmla="*/ 530857 h 1189836"/>
              <a:gd name="connsiteX8" fmla="*/ 1388955 w 1564191"/>
              <a:gd name="connsiteY8" fmla="*/ 530862 h 1189836"/>
              <a:gd name="connsiteX9" fmla="*/ 1419659 w 1564191"/>
              <a:gd name="connsiteY9" fmla="*/ 535648 h 1189836"/>
              <a:gd name="connsiteX10" fmla="*/ 939150 w 1564191"/>
              <a:gd name="connsiteY10" fmla="*/ 984963 h 1189836"/>
              <a:gd name="connsiteX11" fmla="*/ 939150 w 1564191"/>
              <a:gd name="connsiteY11" fmla="*/ 985526 h 1189836"/>
              <a:gd name="connsiteX12" fmla="*/ 933544 w 1564191"/>
              <a:gd name="connsiteY12" fmla="*/ 985526 h 1189836"/>
              <a:gd name="connsiteX13" fmla="*/ 931752 w 1564191"/>
              <a:gd name="connsiteY13" fmla="*/ 985706 h 1189836"/>
              <a:gd name="connsiteX14" fmla="*/ 931752 w 1564191"/>
              <a:gd name="connsiteY14" fmla="*/ 985526 h 1189836"/>
              <a:gd name="connsiteX15" fmla="*/ 639997 w 1564191"/>
              <a:gd name="connsiteY15" fmla="*/ 985526 h 1189836"/>
              <a:gd name="connsiteX16" fmla="*/ 639997 w 1564191"/>
              <a:gd name="connsiteY16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388017 w 1564191"/>
              <a:gd name="connsiteY7" fmla="*/ 530857 h 1189836"/>
              <a:gd name="connsiteX8" fmla="*/ 1419659 w 1564191"/>
              <a:gd name="connsiteY8" fmla="*/ 535648 h 1189836"/>
              <a:gd name="connsiteX9" fmla="*/ 939150 w 1564191"/>
              <a:gd name="connsiteY9" fmla="*/ 984963 h 1189836"/>
              <a:gd name="connsiteX10" fmla="*/ 939150 w 1564191"/>
              <a:gd name="connsiteY10" fmla="*/ 985526 h 1189836"/>
              <a:gd name="connsiteX11" fmla="*/ 933544 w 1564191"/>
              <a:gd name="connsiteY11" fmla="*/ 985526 h 1189836"/>
              <a:gd name="connsiteX12" fmla="*/ 931752 w 1564191"/>
              <a:gd name="connsiteY12" fmla="*/ 985706 h 1189836"/>
              <a:gd name="connsiteX13" fmla="*/ 931752 w 1564191"/>
              <a:gd name="connsiteY13" fmla="*/ 985526 h 1189836"/>
              <a:gd name="connsiteX14" fmla="*/ 639997 w 1564191"/>
              <a:gd name="connsiteY14" fmla="*/ 985526 h 1189836"/>
              <a:gd name="connsiteX15" fmla="*/ 639997 w 1564191"/>
              <a:gd name="connsiteY15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419659 w 1564191"/>
              <a:gd name="connsiteY7" fmla="*/ 535648 h 1189836"/>
              <a:gd name="connsiteX8" fmla="*/ 939150 w 1564191"/>
              <a:gd name="connsiteY8" fmla="*/ 984963 h 1189836"/>
              <a:gd name="connsiteX9" fmla="*/ 939150 w 1564191"/>
              <a:gd name="connsiteY9" fmla="*/ 985526 h 1189836"/>
              <a:gd name="connsiteX10" fmla="*/ 933544 w 1564191"/>
              <a:gd name="connsiteY10" fmla="*/ 985526 h 1189836"/>
              <a:gd name="connsiteX11" fmla="*/ 931752 w 1564191"/>
              <a:gd name="connsiteY11" fmla="*/ 985706 h 1189836"/>
              <a:gd name="connsiteX12" fmla="*/ 931752 w 1564191"/>
              <a:gd name="connsiteY12" fmla="*/ 985526 h 1189836"/>
              <a:gd name="connsiteX13" fmla="*/ 639997 w 1564191"/>
              <a:gd name="connsiteY13" fmla="*/ 985526 h 1189836"/>
              <a:gd name="connsiteX14" fmla="*/ 639997 w 1564191"/>
              <a:gd name="connsiteY14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419659 w 1564191"/>
              <a:gd name="connsiteY7" fmla="*/ 535648 h 1189836"/>
              <a:gd name="connsiteX8" fmla="*/ 939150 w 1564191"/>
              <a:gd name="connsiteY8" fmla="*/ 984963 h 1189836"/>
              <a:gd name="connsiteX9" fmla="*/ 939150 w 1564191"/>
              <a:gd name="connsiteY9" fmla="*/ 985526 h 1189836"/>
              <a:gd name="connsiteX10" fmla="*/ 933544 w 1564191"/>
              <a:gd name="connsiteY10" fmla="*/ 985526 h 1189836"/>
              <a:gd name="connsiteX11" fmla="*/ 931752 w 1564191"/>
              <a:gd name="connsiteY11" fmla="*/ 985706 h 1189836"/>
              <a:gd name="connsiteX12" fmla="*/ 931752 w 1564191"/>
              <a:gd name="connsiteY12" fmla="*/ 985526 h 1189836"/>
              <a:gd name="connsiteX13" fmla="*/ 639997 w 1564191"/>
              <a:gd name="connsiteY13" fmla="*/ 985526 h 1189836"/>
              <a:gd name="connsiteX14" fmla="*/ 639997 w 1564191"/>
              <a:gd name="connsiteY14" fmla="*/ 1189836 h 118983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939150 w 1938047"/>
              <a:gd name="connsiteY4" fmla="*/ 481656 h 1094586"/>
              <a:gd name="connsiteX5" fmla="*/ 939150 w 1938047"/>
              <a:gd name="connsiteY5" fmla="*/ 481988 h 1094586"/>
              <a:gd name="connsiteX6" fmla="*/ 1938047 w 1938047"/>
              <a:gd name="connsiteY6" fmla="*/ 0 h 1094586"/>
              <a:gd name="connsiteX7" fmla="*/ 1419659 w 1938047"/>
              <a:gd name="connsiteY7" fmla="*/ 440398 h 1094586"/>
              <a:gd name="connsiteX8" fmla="*/ 939150 w 1938047"/>
              <a:gd name="connsiteY8" fmla="*/ 889713 h 1094586"/>
              <a:gd name="connsiteX9" fmla="*/ 939150 w 1938047"/>
              <a:gd name="connsiteY9" fmla="*/ 890276 h 1094586"/>
              <a:gd name="connsiteX10" fmla="*/ 933544 w 1938047"/>
              <a:gd name="connsiteY10" fmla="*/ 890276 h 1094586"/>
              <a:gd name="connsiteX11" fmla="*/ 931752 w 1938047"/>
              <a:gd name="connsiteY11" fmla="*/ 890456 h 1094586"/>
              <a:gd name="connsiteX12" fmla="*/ 931752 w 1938047"/>
              <a:gd name="connsiteY12" fmla="*/ 890276 h 1094586"/>
              <a:gd name="connsiteX13" fmla="*/ 639997 w 1938047"/>
              <a:gd name="connsiteY13" fmla="*/ 890276 h 1094586"/>
              <a:gd name="connsiteX14" fmla="*/ 639997 w 1938047"/>
              <a:gd name="connsiteY14" fmla="*/ 1094586 h 109458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939150 w 1938047"/>
              <a:gd name="connsiteY4" fmla="*/ 481656 h 1094586"/>
              <a:gd name="connsiteX5" fmla="*/ 939150 w 1938047"/>
              <a:gd name="connsiteY5" fmla="*/ 481988 h 1094586"/>
              <a:gd name="connsiteX6" fmla="*/ 1938047 w 1938047"/>
              <a:gd name="connsiteY6" fmla="*/ 0 h 1094586"/>
              <a:gd name="connsiteX7" fmla="*/ 1483952 w 1938047"/>
              <a:gd name="connsiteY7" fmla="*/ 502310 h 1094586"/>
              <a:gd name="connsiteX8" fmla="*/ 939150 w 1938047"/>
              <a:gd name="connsiteY8" fmla="*/ 889713 h 1094586"/>
              <a:gd name="connsiteX9" fmla="*/ 939150 w 1938047"/>
              <a:gd name="connsiteY9" fmla="*/ 890276 h 1094586"/>
              <a:gd name="connsiteX10" fmla="*/ 933544 w 1938047"/>
              <a:gd name="connsiteY10" fmla="*/ 890276 h 1094586"/>
              <a:gd name="connsiteX11" fmla="*/ 931752 w 1938047"/>
              <a:gd name="connsiteY11" fmla="*/ 890456 h 1094586"/>
              <a:gd name="connsiteX12" fmla="*/ 931752 w 1938047"/>
              <a:gd name="connsiteY12" fmla="*/ 890276 h 1094586"/>
              <a:gd name="connsiteX13" fmla="*/ 639997 w 1938047"/>
              <a:gd name="connsiteY13" fmla="*/ 890276 h 1094586"/>
              <a:gd name="connsiteX14" fmla="*/ 639997 w 1938047"/>
              <a:gd name="connsiteY14" fmla="*/ 1094586 h 109458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939150 w 1938047"/>
              <a:gd name="connsiteY4" fmla="*/ 481656 h 1094586"/>
              <a:gd name="connsiteX5" fmla="*/ 939150 w 1938047"/>
              <a:gd name="connsiteY5" fmla="*/ 481988 h 1094586"/>
              <a:gd name="connsiteX6" fmla="*/ 1938047 w 1938047"/>
              <a:gd name="connsiteY6" fmla="*/ 0 h 1094586"/>
              <a:gd name="connsiteX7" fmla="*/ 1483952 w 1938047"/>
              <a:gd name="connsiteY7" fmla="*/ 502310 h 1094586"/>
              <a:gd name="connsiteX8" fmla="*/ 939150 w 1938047"/>
              <a:gd name="connsiteY8" fmla="*/ 889713 h 1094586"/>
              <a:gd name="connsiteX9" fmla="*/ 939150 w 1938047"/>
              <a:gd name="connsiteY9" fmla="*/ 890276 h 1094586"/>
              <a:gd name="connsiteX10" fmla="*/ 933544 w 1938047"/>
              <a:gd name="connsiteY10" fmla="*/ 890276 h 1094586"/>
              <a:gd name="connsiteX11" fmla="*/ 931752 w 1938047"/>
              <a:gd name="connsiteY11" fmla="*/ 890456 h 1094586"/>
              <a:gd name="connsiteX12" fmla="*/ 931752 w 1938047"/>
              <a:gd name="connsiteY12" fmla="*/ 890276 h 1094586"/>
              <a:gd name="connsiteX13" fmla="*/ 639997 w 1938047"/>
              <a:gd name="connsiteY13" fmla="*/ 890276 h 1094586"/>
              <a:gd name="connsiteX14" fmla="*/ 639997 w 1938047"/>
              <a:gd name="connsiteY14" fmla="*/ 1094586 h 109458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939150 w 1938047"/>
              <a:gd name="connsiteY4" fmla="*/ 481656 h 1094586"/>
              <a:gd name="connsiteX5" fmla="*/ 1938047 w 1938047"/>
              <a:gd name="connsiteY5" fmla="*/ 0 h 1094586"/>
              <a:gd name="connsiteX6" fmla="*/ 1483952 w 1938047"/>
              <a:gd name="connsiteY6" fmla="*/ 502310 h 1094586"/>
              <a:gd name="connsiteX7" fmla="*/ 939150 w 1938047"/>
              <a:gd name="connsiteY7" fmla="*/ 889713 h 1094586"/>
              <a:gd name="connsiteX8" fmla="*/ 939150 w 1938047"/>
              <a:gd name="connsiteY8" fmla="*/ 890276 h 1094586"/>
              <a:gd name="connsiteX9" fmla="*/ 933544 w 1938047"/>
              <a:gd name="connsiteY9" fmla="*/ 890276 h 1094586"/>
              <a:gd name="connsiteX10" fmla="*/ 931752 w 1938047"/>
              <a:gd name="connsiteY10" fmla="*/ 890456 h 1094586"/>
              <a:gd name="connsiteX11" fmla="*/ 931752 w 1938047"/>
              <a:gd name="connsiteY11" fmla="*/ 890276 h 1094586"/>
              <a:gd name="connsiteX12" fmla="*/ 639997 w 1938047"/>
              <a:gd name="connsiteY12" fmla="*/ 890276 h 1094586"/>
              <a:gd name="connsiteX13" fmla="*/ 639997 w 1938047"/>
              <a:gd name="connsiteY13" fmla="*/ 1094586 h 109458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1938047 w 1938047"/>
              <a:gd name="connsiteY4" fmla="*/ 0 h 1094586"/>
              <a:gd name="connsiteX5" fmla="*/ 1483952 w 1938047"/>
              <a:gd name="connsiteY5" fmla="*/ 502310 h 1094586"/>
              <a:gd name="connsiteX6" fmla="*/ 939150 w 1938047"/>
              <a:gd name="connsiteY6" fmla="*/ 889713 h 1094586"/>
              <a:gd name="connsiteX7" fmla="*/ 939150 w 1938047"/>
              <a:gd name="connsiteY7" fmla="*/ 890276 h 1094586"/>
              <a:gd name="connsiteX8" fmla="*/ 933544 w 1938047"/>
              <a:gd name="connsiteY8" fmla="*/ 890276 h 1094586"/>
              <a:gd name="connsiteX9" fmla="*/ 931752 w 1938047"/>
              <a:gd name="connsiteY9" fmla="*/ 890456 h 1094586"/>
              <a:gd name="connsiteX10" fmla="*/ 931752 w 1938047"/>
              <a:gd name="connsiteY10" fmla="*/ 890276 h 1094586"/>
              <a:gd name="connsiteX11" fmla="*/ 639997 w 1938047"/>
              <a:gd name="connsiteY11" fmla="*/ 890276 h 1094586"/>
              <a:gd name="connsiteX12" fmla="*/ 639997 w 1938047"/>
              <a:gd name="connsiteY12" fmla="*/ 1094586 h 109458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1938047 w 1938047"/>
              <a:gd name="connsiteY4" fmla="*/ 0 h 1094586"/>
              <a:gd name="connsiteX5" fmla="*/ 1483952 w 1938047"/>
              <a:gd name="connsiteY5" fmla="*/ 502310 h 1094586"/>
              <a:gd name="connsiteX6" fmla="*/ 939150 w 1938047"/>
              <a:gd name="connsiteY6" fmla="*/ 889713 h 1094586"/>
              <a:gd name="connsiteX7" fmla="*/ 939150 w 1938047"/>
              <a:gd name="connsiteY7" fmla="*/ 890276 h 1094586"/>
              <a:gd name="connsiteX8" fmla="*/ 933544 w 1938047"/>
              <a:gd name="connsiteY8" fmla="*/ 890276 h 1094586"/>
              <a:gd name="connsiteX9" fmla="*/ 931752 w 1938047"/>
              <a:gd name="connsiteY9" fmla="*/ 890456 h 1094586"/>
              <a:gd name="connsiteX10" fmla="*/ 931752 w 1938047"/>
              <a:gd name="connsiteY10" fmla="*/ 890276 h 1094586"/>
              <a:gd name="connsiteX11" fmla="*/ 639997 w 1938047"/>
              <a:gd name="connsiteY11" fmla="*/ 890276 h 1094586"/>
              <a:gd name="connsiteX12" fmla="*/ 639997 w 1938047"/>
              <a:gd name="connsiteY12" fmla="*/ 1094586 h 109458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1938047 w 1938047"/>
              <a:gd name="connsiteY4" fmla="*/ 0 h 1094586"/>
              <a:gd name="connsiteX5" fmla="*/ 1483952 w 1938047"/>
              <a:gd name="connsiteY5" fmla="*/ 502310 h 1094586"/>
              <a:gd name="connsiteX6" fmla="*/ 939150 w 1938047"/>
              <a:gd name="connsiteY6" fmla="*/ 889713 h 1094586"/>
              <a:gd name="connsiteX7" fmla="*/ 939150 w 1938047"/>
              <a:gd name="connsiteY7" fmla="*/ 890276 h 1094586"/>
              <a:gd name="connsiteX8" fmla="*/ 933544 w 1938047"/>
              <a:gd name="connsiteY8" fmla="*/ 890276 h 1094586"/>
              <a:gd name="connsiteX9" fmla="*/ 931752 w 1938047"/>
              <a:gd name="connsiteY9" fmla="*/ 890456 h 1094586"/>
              <a:gd name="connsiteX10" fmla="*/ 931752 w 1938047"/>
              <a:gd name="connsiteY10" fmla="*/ 890276 h 1094586"/>
              <a:gd name="connsiteX11" fmla="*/ 639997 w 1938047"/>
              <a:gd name="connsiteY11" fmla="*/ 890276 h 1094586"/>
              <a:gd name="connsiteX12" fmla="*/ 639997 w 1938047"/>
              <a:gd name="connsiteY12" fmla="*/ 1094586 h 1094586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39227 w 1860409"/>
              <a:gd name="connsiteY5" fmla="*/ 717971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39227 w 1860409"/>
              <a:gd name="connsiteY5" fmla="*/ 717971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90986 w 1860409"/>
              <a:gd name="connsiteY5" fmla="*/ 700718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90986 w 1860409"/>
              <a:gd name="connsiteY5" fmla="*/ 700718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90986 w 1860409"/>
              <a:gd name="connsiteY5" fmla="*/ 700718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90986 w 1860409"/>
              <a:gd name="connsiteY5" fmla="*/ 700718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90986 w 1860409"/>
              <a:gd name="connsiteY5" fmla="*/ 700718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90986 w 1860409"/>
              <a:gd name="connsiteY5" fmla="*/ 700718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974"/>
              <a:gd name="connsiteY0" fmla="*/ 1275741 h 1275741"/>
              <a:gd name="connsiteX1" fmla="*/ 0 w 1860974"/>
              <a:gd name="connsiteY1" fmla="*/ 867121 h 1275741"/>
              <a:gd name="connsiteX2" fmla="*/ 639997 w 1860974"/>
              <a:gd name="connsiteY2" fmla="*/ 458501 h 1275741"/>
              <a:gd name="connsiteX3" fmla="*/ 639997 w 1860974"/>
              <a:gd name="connsiteY3" fmla="*/ 662811 h 1275741"/>
              <a:gd name="connsiteX4" fmla="*/ 1860409 w 1860974"/>
              <a:gd name="connsiteY4" fmla="*/ 0 h 1275741"/>
              <a:gd name="connsiteX5" fmla="*/ 1690986 w 1860974"/>
              <a:gd name="connsiteY5" fmla="*/ 700718 h 1275741"/>
              <a:gd name="connsiteX6" fmla="*/ 939150 w 1860974"/>
              <a:gd name="connsiteY6" fmla="*/ 1070868 h 1275741"/>
              <a:gd name="connsiteX7" fmla="*/ 939150 w 1860974"/>
              <a:gd name="connsiteY7" fmla="*/ 1071431 h 1275741"/>
              <a:gd name="connsiteX8" fmla="*/ 933544 w 1860974"/>
              <a:gd name="connsiteY8" fmla="*/ 1071431 h 1275741"/>
              <a:gd name="connsiteX9" fmla="*/ 931752 w 1860974"/>
              <a:gd name="connsiteY9" fmla="*/ 1071611 h 1275741"/>
              <a:gd name="connsiteX10" fmla="*/ 931752 w 1860974"/>
              <a:gd name="connsiteY10" fmla="*/ 1071431 h 1275741"/>
              <a:gd name="connsiteX11" fmla="*/ 639997 w 1860974"/>
              <a:gd name="connsiteY11" fmla="*/ 1071431 h 1275741"/>
              <a:gd name="connsiteX12" fmla="*/ 639997 w 1860974"/>
              <a:gd name="connsiteY12" fmla="*/ 1275741 h 1275741"/>
              <a:gd name="connsiteX0" fmla="*/ 657407 w 1878384"/>
              <a:gd name="connsiteY0" fmla="*/ 1275741 h 1275741"/>
              <a:gd name="connsiteX1" fmla="*/ 0 w 1878384"/>
              <a:gd name="connsiteY1" fmla="*/ 806186 h 1275741"/>
              <a:gd name="connsiteX2" fmla="*/ 657407 w 1878384"/>
              <a:gd name="connsiteY2" fmla="*/ 458501 h 1275741"/>
              <a:gd name="connsiteX3" fmla="*/ 657407 w 1878384"/>
              <a:gd name="connsiteY3" fmla="*/ 662811 h 1275741"/>
              <a:gd name="connsiteX4" fmla="*/ 1877819 w 1878384"/>
              <a:gd name="connsiteY4" fmla="*/ 0 h 1275741"/>
              <a:gd name="connsiteX5" fmla="*/ 1708396 w 1878384"/>
              <a:gd name="connsiteY5" fmla="*/ 700718 h 1275741"/>
              <a:gd name="connsiteX6" fmla="*/ 956560 w 1878384"/>
              <a:gd name="connsiteY6" fmla="*/ 1070868 h 1275741"/>
              <a:gd name="connsiteX7" fmla="*/ 956560 w 1878384"/>
              <a:gd name="connsiteY7" fmla="*/ 1071431 h 1275741"/>
              <a:gd name="connsiteX8" fmla="*/ 950954 w 1878384"/>
              <a:gd name="connsiteY8" fmla="*/ 1071431 h 1275741"/>
              <a:gd name="connsiteX9" fmla="*/ 949162 w 1878384"/>
              <a:gd name="connsiteY9" fmla="*/ 1071611 h 1275741"/>
              <a:gd name="connsiteX10" fmla="*/ 949162 w 1878384"/>
              <a:gd name="connsiteY10" fmla="*/ 1071431 h 1275741"/>
              <a:gd name="connsiteX11" fmla="*/ 657407 w 1878384"/>
              <a:gd name="connsiteY11" fmla="*/ 1071431 h 1275741"/>
              <a:gd name="connsiteX12" fmla="*/ 657407 w 1878384"/>
              <a:gd name="connsiteY12" fmla="*/ 1275741 h 1275741"/>
              <a:gd name="connsiteX0" fmla="*/ 648701 w 1869678"/>
              <a:gd name="connsiteY0" fmla="*/ 1275741 h 1275741"/>
              <a:gd name="connsiteX1" fmla="*/ 0 w 1869678"/>
              <a:gd name="connsiteY1" fmla="*/ 745250 h 1275741"/>
              <a:gd name="connsiteX2" fmla="*/ 648701 w 1869678"/>
              <a:gd name="connsiteY2" fmla="*/ 458501 h 1275741"/>
              <a:gd name="connsiteX3" fmla="*/ 648701 w 1869678"/>
              <a:gd name="connsiteY3" fmla="*/ 662811 h 1275741"/>
              <a:gd name="connsiteX4" fmla="*/ 1869113 w 1869678"/>
              <a:gd name="connsiteY4" fmla="*/ 0 h 1275741"/>
              <a:gd name="connsiteX5" fmla="*/ 1699690 w 1869678"/>
              <a:gd name="connsiteY5" fmla="*/ 700718 h 1275741"/>
              <a:gd name="connsiteX6" fmla="*/ 947854 w 1869678"/>
              <a:gd name="connsiteY6" fmla="*/ 1070868 h 1275741"/>
              <a:gd name="connsiteX7" fmla="*/ 947854 w 1869678"/>
              <a:gd name="connsiteY7" fmla="*/ 1071431 h 1275741"/>
              <a:gd name="connsiteX8" fmla="*/ 942248 w 1869678"/>
              <a:gd name="connsiteY8" fmla="*/ 1071431 h 1275741"/>
              <a:gd name="connsiteX9" fmla="*/ 940456 w 1869678"/>
              <a:gd name="connsiteY9" fmla="*/ 1071611 h 1275741"/>
              <a:gd name="connsiteX10" fmla="*/ 940456 w 1869678"/>
              <a:gd name="connsiteY10" fmla="*/ 1071431 h 1275741"/>
              <a:gd name="connsiteX11" fmla="*/ 648701 w 1869678"/>
              <a:gd name="connsiteY11" fmla="*/ 1071431 h 1275741"/>
              <a:gd name="connsiteX12" fmla="*/ 648701 w 1869678"/>
              <a:gd name="connsiteY12" fmla="*/ 1275741 h 1275741"/>
              <a:gd name="connsiteX0" fmla="*/ 648701 w 1869678"/>
              <a:gd name="connsiteY0" fmla="*/ 1275741 h 1275741"/>
              <a:gd name="connsiteX1" fmla="*/ 0 w 1869678"/>
              <a:gd name="connsiteY1" fmla="*/ 745250 h 1275741"/>
              <a:gd name="connsiteX2" fmla="*/ 692227 w 1869678"/>
              <a:gd name="connsiteY2" fmla="*/ 467206 h 1275741"/>
              <a:gd name="connsiteX3" fmla="*/ 648701 w 1869678"/>
              <a:gd name="connsiteY3" fmla="*/ 662811 h 1275741"/>
              <a:gd name="connsiteX4" fmla="*/ 1869113 w 1869678"/>
              <a:gd name="connsiteY4" fmla="*/ 0 h 1275741"/>
              <a:gd name="connsiteX5" fmla="*/ 1699690 w 1869678"/>
              <a:gd name="connsiteY5" fmla="*/ 700718 h 1275741"/>
              <a:gd name="connsiteX6" fmla="*/ 947854 w 1869678"/>
              <a:gd name="connsiteY6" fmla="*/ 1070868 h 1275741"/>
              <a:gd name="connsiteX7" fmla="*/ 947854 w 1869678"/>
              <a:gd name="connsiteY7" fmla="*/ 1071431 h 1275741"/>
              <a:gd name="connsiteX8" fmla="*/ 942248 w 1869678"/>
              <a:gd name="connsiteY8" fmla="*/ 1071431 h 1275741"/>
              <a:gd name="connsiteX9" fmla="*/ 940456 w 1869678"/>
              <a:gd name="connsiteY9" fmla="*/ 1071611 h 1275741"/>
              <a:gd name="connsiteX10" fmla="*/ 940456 w 1869678"/>
              <a:gd name="connsiteY10" fmla="*/ 1071431 h 1275741"/>
              <a:gd name="connsiteX11" fmla="*/ 648701 w 1869678"/>
              <a:gd name="connsiteY11" fmla="*/ 1071431 h 1275741"/>
              <a:gd name="connsiteX12" fmla="*/ 648701 w 1869678"/>
              <a:gd name="connsiteY12" fmla="*/ 1275741 h 1275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869678" h="1275741">
                <a:moveTo>
                  <a:pt x="648701" y="1275741"/>
                </a:moveTo>
                <a:lnTo>
                  <a:pt x="0" y="745250"/>
                </a:lnTo>
                <a:lnTo>
                  <a:pt x="692227" y="467206"/>
                </a:lnTo>
                <a:lnTo>
                  <a:pt x="648701" y="662811"/>
                </a:lnTo>
                <a:cubicBezTo>
                  <a:pt x="1357429" y="830061"/>
                  <a:pt x="1695222" y="453850"/>
                  <a:pt x="1869113" y="0"/>
                </a:cubicBezTo>
                <a:cubicBezTo>
                  <a:pt x="1874698" y="336676"/>
                  <a:pt x="1840380" y="504920"/>
                  <a:pt x="1699690" y="700718"/>
                </a:cubicBezTo>
                <a:cubicBezTo>
                  <a:pt x="1447095" y="992167"/>
                  <a:pt x="1195243" y="1067624"/>
                  <a:pt x="947854" y="1070868"/>
                </a:cubicBezTo>
                <a:lnTo>
                  <a:pt x="947854" y="1071431"/>
                </a:lnTo>
                <a:lnTo>
                  <a:pt x="942248" y="1071431"/>
                </a:lnTo>
                <a:cubicBezTo>
                  <a:pt x="941652" y="1071610"/>
                  <a:pt x="941054" y="1071611"/>
                  <a:pt x="940456" y="1071611"/>
                </a:cubicBezTo>
                <a:lnTo>
                  <a:pt x="940456" y="1071431"/>
                </a:lnTo>
                <a:lnTo>
                  <a:pt x="648701" y="1071431"/>
                </a:lnTo>
                <a:lnTo>
                  <a:pt x="648701" y="127574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cs typeface="+mn-cs"/>
            </a:endParaRPr>
          </a:p>
        </p:txBody>
      </p:sp>
      <p:sp>
        <p:nvSpPr>
          <p:cNvPr id="17" name="Left Arrow 2">
            <a:extLst>
              <a:ext uri="{FF2B5EF4-FFF2-40B4-BE49-F238E27FC236}">
                <a16:creationId xmlns:a16="http://schemas.microsoft.com/office/drawing/2014/main" id="{050A6B94-659B-452E-A085-6DD931D1F899}"/>
              </a:ext>
            </a:extLst>
          </p:cNvPr>
          <p:cNvSpPr/>
          <p:nvPr/>
        </p:nvSpPr>
        <p:spPr>
          <a:xfrm rot="8100000">
            <a:off x="7404461" y="3497686"/>
            <a:ext cx="618661" cy="422134"/>
          </a:xfrm>
          <a:custGeom>
            <a:avLst/>
            <a:gdLst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981979 w 1564191"/>
              <a:gd name="connsiteY6" fmla="*/ 528765 h 1189836"/>
              <a:gd name="connsiteX7" fmla="*/ 983944 w 1564191"/>
              <a:gd name="connsiteY7" fmla="*/ 528775 h 1189836"/>
              <a:gd name="connsiteX8" fmla="*/ 1564191 w 1564191"/>
              <a:gd name="connsiteY8" fmla="*/ 0 h 1189836"/>
              <a:gd name="connsiteX9" fmla="*/ 1388017 w 1564191"/>
              <a:gd name="connsiteY9" fmla="*/ 530857 h 1189836"/>
              <a:gd name="connsiteX10" fmla="*/ 1388955 w 1564191"/>
              <a:gd name="connsiteY10" fmla="*/ 530862 h 1189836"/>
              <a:gd name="connsiteX11" fmla="*/ 1388758 w 1564191"/>
              <a:gd name="connsiteY11" fmla="*/ 532748 h 1189836"/>
              <a:gd name="connsiteX12" fmla="*/ 1388961 w 1564191"/>
              <a:gd name="connsiteY12" fmla="*/ 533267 h 1189836"/>
              <a:gd name="connsiteX13" fmla="*/ 1388703 w 1564191"/>
              <a:gd name="connsiteY13" fmla="*/ 533267 h 1189836"/>
              <a:gd name="connsiteX14" fmla="*/ 939150 w 1564191"/>
              <a:gd name="connsiteY14" fmla="*/ 984963 h 1189836"/>
              <a:gd name="connsiteX15" fmla="*/ 939150 w 1564191"/>
              <a:gd name="connsiteY15" fmla="*/ 985526 h 1189836"/>
              <a:gd name="connsiteX16" fmla="*/ 933544 w 1564191"/>
              <a:gd name="connsiteY16" fmla="*/ 985526 h 1189836"/>
              <a:gd name="connsiteX17" fmla="*/ 931752 w 1564191"/>
              <a:gd name="connsiteY17" fmla="*/ 985706 h 1189836"/>
              <a:gd name="connsiteX18" fmla="*/ 931752 w 1564191"/>
              <a:gd name="connsiteY18" fmla="*/ 985526 h 1189836"/>
              <a:gd name="connsiteX19" fmla="*/ 639997 w 1564191"/>
              <a:gd name="connsiteY19" fmla="*/ 985526 h 1189836"/>
              <a:gd name="connsiteX20" fmla="*/ 639997 w 1564191"/>
              <a:gd name="connsiteY20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981979 w 1564191"/>
              <a:gd name="connsiteY6" fmla="*/ 528765 h 1189836"/>
              <a:gd name="connsiteX7" fmla="*/ 983944 w 1564191"/>
              <a:gd name="connsiteY7" fmla="*/ 528775 h 1189836"/>
              <a:gd name="connsiteX8" fmla="*/ 1564191 w 1564191"/>
              <a:gd name="connsiteY8" fmla="*/ 0 h 1189836"/>
              <a:gd name="connsiteX9" fmla="*/ 1388017 w 1564191"/>
              <a:gd name="connsiteY9" fmla="*/ 530857 h 1189836"/>
              <a:gd name="connsiteX10" fmla="*/ 1388955 w 1564191"/>
              <a:gd name="connsiteY10" fmla="*/ 530862 h 1189836"/>
              <a:gd name="connsiteX11" fmla="*/ 1388758 w 1564191"/>
              <a:gd name="connsiteY11" fmla="*/ 532748 h 1189836"/>
              <a:gd name="connsiteX12" fmla="*/ 1388961 w 1564191"/>
              <a:gd name="connsiteY12" fmla="*/ 533267 h 1189836"/>
              <a:gd name="connsiteX13" fmla="*/ 1388703 w 1564191"/>
              <a:gd name="connsiteY13" fmla="*/ 533267 h 1189836"/>
              <a:gd name="connsiteX14" fmla="*/ 939150 w 1564191"/>
              <a:gd name="connsiteY14" fmla="*/ 984963 h 1189836"/>
              <a:gd name="connsiteX15" fmla="*/ 939150 w 1564191"/>
              <a:gd name="connsiteY15" fmla="*/ 985526 h 1189836"/>
              <a:gd name="connsiteX16" fmla="*/ 933544 w 1564191"/>
              <a:gd name="connsiteY16" fmla="*/ 985526 h 1189836"/>
              <a:gd name="connsiteX17" fmla="*/ 931752 w 1564191"/>
              <a:gd name="connsiteY17" fmla="*/ 985706 h 1189836"/>
              <a:gd name="connsiteX18" fmla="*/ 931752 w 1564191"/>
              <a:gd name="connsiteY18" fmla="*/ 985526 h 1189836"/>
              <a:gd name="connsiteX19" fmla="*/ 639997 w 1564191"/>
              <a:gd name="connsiteY19" fmla="*/ 985526 h 1189836"/>
              <a:gd name="connsiteX20" fmla="*/ 639997 w 1564191"/>
              <a:gd name="connsiteY20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981979 w 1564191"/>
              <a:gd name="connsiteY6" fmla="*/ 528765 h 1189836"/>
              <a:gd name="connsiteX7" fmla="*/ 1564191 w 1564191"/>
              <a:gd name="connsiteY7" fmla="*/ 0 h 1189836"/>
              <a:gd name="connsiteX8" fmla="*/ 1388017 w 1564191"/>
              <a:gd name="connsiteY8" fmla="*/ 530857 h 1189836"/>
              <a:gd name="connsiteX9" fmla="*/ 1388955 w 1564191"/>
              <a:gd name="connsiteY9" fmla="*/ 530862 h 1189836"/>
              <a:gd name="connsiteX10" fmla="*/ 1388758 w 1564191"/>
              <a:gd name="connsiteY10" fmla="*/ 532748 h 1189836"/>
              <a:gd name="connsiteX11" fmla="*/ 1388961 w 1564191"/>
              <a:gd name="connsiteY11" fmla="*/ 533267 h 1189836"/>
              <a:gd name="connsiteX12" fmla="*/ 1388703 w 1564191"/>
              <a:gd name="connsiteY12" fmla="*/ 533267 h 1189836"/>
              <a:gd name="connsiteX13" fmla="*/ 939150 w 1564191"/>
              <a:gd name="connsiteY13" fmla="*/ 984963 h 1189836"/>
              <a:gd name="connsiteX14" fmla="*/ 939150 w 1564191"/>
              <a:gd name="connsiteY14" fmla="*/ 985526 h 1189836"/>
              <a:gd name="connsiteX15" fmla="*/ 933544 w 1564191"/>
              <a:gd name="connsiteY15" fmla="*/ 985526 h 1189836"/>
              <a:gd name="connsiteX16" fmla="*/ 931752 w 1564191"/>
              <a:gd name="connsiteY16" fmla="*/ 985706 h 1189836"/>
              <a:gd name="connsiteX17" fmla="*/ 931752 w 1564191"/>
              <a:gd name="connsiteY17" fmla="*/ 985526 h 1189836"/>
              <a:gd name="connsiteX18" fmla="*/ 639997 w 1564191"/>
              <a:gd name="connsiteY18" fmla="*/ 985526 h 1189836"/>
              <a:gd name="connsiteX19" fmla="*/ 639997 w 1564191"/>
              <a:gd name="connsiteY19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388017 w 1564191"/>
              <a:gd name="connsiteY7" fmla="*/ 530857 h 1189836"/>
              <a:gd name="connsiteX8" fmla="*/ 1388955 w 1564191"/>
              <a:gd name="connsiteY8" fmla="*/ 530862 h 1189836"/>
              <a:gd name="connsiteX9" fmla="*/ 1388758 w 1564191"/>
              <a:gd name="connsiteY9" fmla="*/ 532748 h 1189836"/>
              <a:gd name="connsiteX10" fmla="*/ 1388961 w 1564191"/>
              <a:gd name="connsiteY10" fmla="*/ 533267 h 1189836"/>
              <a:gd name="connsiteX11" fmla="*/ 1388703 w 1564191"/>
              <a:gd name="connsiteY11" fmla="*/ 533267 h 1189836"/>
              <a:gd name="connsiteX12" fmla="*/ 939150 w 1564191"/>
              <a:gd name="connsiteY12" fmla="*/ 984963 h 1189836"/>
              <a:gd name="connsiteX13" fmla="*/ 939150 w 1564191"/>
              <a:gd name="connsiteY13" fmla="*/ 985526 h 1189836"/>
              <a:gd name="connsiteX14" fmla="*/ 933544 w 1564191"/>
              <a:gd name="connsiteY14" fmla="*/ 985526 h 1189836"/>
              <a:gd name="connsiteX15" fmla="*/ 931752 w 1564191"/>
              <a:gd name="connsiteY15" fmla="*/ 985706 h 1189836"/>
              <a:gd name="connsiteX16" fmla="*/ 931752 w 1564191"/>
              <a:gd name="connsiteY16" fmla="*/ 985526 h 1189836"/>
              <a:gd name="connsiteX17" fmla="*/ 639997 w 1564191"/>
              <a:gd name="connsiteY17" fmla="*/ 985526 h 1189836"/>
              <a:gd name="connsiteX18" fmla="*/ 639997 w 1564191"/>
              <a:gd name="connsiteY18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388017 w 1564191"/>
              <a:gd name="connsiteY7" fmla="*/ 530857 h 1189836"/>
              <a:gd name="connsiteX8" fmla="*/ 1388955 w 1564191"/>
              <a:gd name="connsiteY8" fmla="*/ 530862 h 1189836"/>
              <a:gd name="connsiteX9" fmla="*/ 1388758 w 1564191"/>
              <a:gd name="connsiteY9" fmla="*/ 532748 h 1189836"/>
              <a:gd name="connsiteX10" fmla="*/ 1388961 w 1564191"/>
              <a:gd name="connsiteY10" fmla="*/ 533267 h 1189836"/>
              <a:gd name="connsiteX11" fmla="*/ 1419659 w 1564191"/>
              <a:gd name="connsiteY11" fmla="*/ 535648 h 1189836"/>
              <a:gd name="connsiteX12" fmla="*/ 939150 w 1564191"/>
              <a:gd name="connsiteY12" fmla="*/ 984963 h 1189836"/>
              <a:gd name="connsiteX13" fmla="*/ 939150 w 1564191"/>
              <a:gd name="connsiteY13" fmla="*/ 985526 h 1189836"/>
              <a:gd name="connsiteX14" fmla="*/ 933544 w 1564191"/>
              <a:gd name="connsiteY14" fmla="*/ 985526 h 1189836"/>
              <a:gd name="connsiteX15" fmla="*/ 931752 w 1564191"/>
              <a:gd name="connsiteY15" fmla="*/ 985706 h 1189836"/>
              <a:gd name="connsiteX16" fmla="*/ 931752 w 1564191"/>
              <a:gd name="connsiteY16" fmla="*/ 985526 h 1189836"/>
              <a:gd name="connsiteX17" fmla="*/ 639997 w 1564191"/>
              <a:gd name="connsiteY17" fmla="*/ 985526 h 1189836"/>
              <a:gd name="connsiteX18" fmla="*/ 639997 w 1564191"/>
              <a:gd name="connsiteY18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388017 w 1564191"/>
              <a:gd name="connsiteY7" fmla="*/ 530857 h 1189836"/>
              <a:gd name="connsiteX8" fmla="*/ 1388955 w 1564191"/>
              <a:gd name="connsiteY8" fmla="*/ 530862 h 1189836"/>
              <a:gd name="connsiteX9" fmla="*/ 1388758 w 1564191"/>
              <a:gd name="connsiteY9" fmla="*/ 532748 h 1189836"/>
              <a:gd name="connsiteX10" fmla="*/ 1419659 w 1564191"/>
              <a:gd name="connsiteY10" fmla="*/ 535648 h 1189836"/>
              <a:gd name="connsiteX11" fmla="*/ 939150 w 1564191"/>
              <a:gd name="connsiteY11" fmla="*/ 984963 h 1189836"/>
              <a:gd name="connsiteX12" fmla="*/ 939150 w 1564191"/>
              <a:gd name="connsiteY12" fmla="*/ 985526 h 1189836"/>
              <a:gd name="connsiteX13" fmla="*/ 933544 w 1564191"/>
              <a:gd name="connsiteY13" fmla="*/ 985526 h 1189836"/>
              <a:gd name="connsiteX14" fmla="*/ 931752 w 1564191"/>
              <a:gd name="connsiteY14" fmla="*/ 985706 h 1189836"/>
              <a:gd name="connsiteX15" fmla="*/ 931752 w 1564191"/>
              <a:gd name="connsiteY15" fmla="*/ 985526 h 1189836"/>
              <a:gd name="connsiteX16" fmla="*/ 639997 w 1564191"/>
              <a:gd name="connsiteY16" fmla="*/ 985526 h 1189836"/>
              <a:gd name="connsiteX17" fmla="*/ 639997 w 1564191"/>
              <a:gd name="connsiteY17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388017 w 1564191"/>
              <a:gd name="connsiteY7" fmla="*/ 530857 h 1189836"/>
              <a:gd name="connsiteX8" fmla="*/ 1388955 w 1564191"/>
              <a:gd name="connsiteY8" fmla="*/ 530862 h 1189836"/>
              <a:gd name="connsiteX9" fmla="*/ 1419659 w 1564191"/>
              <a:gd name="connsiteY9" fmla="*/ 535648 h 1189836"/>
              <a:gd name="connsiteX10" fmla="*/ 939150 w 1564191"/>
              <a:gd name="connsiteY10" fmla="*/ 984963 h 1189836"/>
              <a:gd name="connsiteX11" fmla="*/ 939150 w 1564191"/>
              <a:gd name="connsiteY11" fmla="*/ 985526 h 1189836"/>
              <a:gd name="connsiteX12" fmla="*/ 933544 w 1564191"/>
              <a:gd name="connsiteY12" fmla="*/ 985526 h 1189836"/>
              <a:gd name="connsiteX13" fmla="*/ 931752 w 1564191"/>
              <a:gd name="connsiteY13" fmla="*/ 985706 h 1189836"/>
              <a:gd name="connsiteX14" fmla="*/ 931752 w 1564191"/>
              <a:gd name="connsiteY14" fmla="*/ 985526 h 1189836"/>
              <a:gd name="connsiteX15" fmla="*/ 639997 w 1564191"/>
              <a:gd name="connsiteY15" fmla="*/ 985526 h 1189836"/>
              <a:gd name="connsiteX16" fmla="*/ 639997 w 1564191"/>
              <a:gd name="connsiteY16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388017 w 1564191"/>
              <a:gd name="connsiteY7" fmla="*/ 530857 h 1189836"/>
              <a:gd name="connsiteX8" fmla="*/ 1419659 w 1564191"/>
              <a:gd name="connsiteY8" fmla="*/ 535648 h 1189836"/>
              <a:gd name="connsiteX9" fmla="*/ 939150 w 1564191"/>
              <a:gd name="connsiteY9" fmla="*/ 984963 h 1189836"/>
              <a:gd name="connsiteX10" fmla="*/ 939150 w 1564191"/>
              <a:gd name="connsiteY10" fmla="*/ 985526 h 1189836"/>
              <a:gd name="connsiteX11" fmla="*/ 933544 w 1564191"/>
              <a:gd name="connsiteY11" fmla="*/ 985526 h 1189836"/>
              <a:gd name="connsiteX12" fmla="*/ 931752 w 1564191"/>
              <a:gd name="connsiteY12" fmla="*/ 985706 h 1189836"/>
              <a:gd name="connsiteX13" fmla="*/ 931752 w 1564191"/>
              <a:gd name="connsiteY13" fmla="*/ 985526 h 1189836"/>
              <a:gd name="connsiteX14" fmla="*/ 639997 w 1564191"/>
              <a:gd name="connsiteY14" fmla="*/ 985526 h 1189836"/>
              <a:gd name="connsiteX15" fmla="*/ 639997 w 1564191"/>
              <a:gd name="connsiteY15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419659 w 1564191"/>
              <a:gd name="connsiteY7" fmla="*/ 535648 h 1189836"/>
              <a:gd name="connsiteX8" fmla="*/ 939150 w 1564191"/>
              <a:gd name="connsiteY8" fmla="*/ 984963 h 1189836"/>
              <a:gd name="connsiteX9" fmla="*/ 939150 w 1564191"/>
              <a:gd name="connsiteY9" fmla="*/ 985526 h 1189836"/>
              <a:gd name="connsiteX10" fmla="*/ 933544 w 1564191"/>
              <a:gd name="connsiteY10" fmla="*/ 985526 h 1189836"/>
              <a:gd name="connsiteX11" fmla="*/ 931752 w 1564191"/>
              <a:gd name="connsiteY11" fmla="*/ 985706 h 1189836"/>
              <a:gd name="connsiteX12" fmla="*/ 931752 w 1564191"/>
              <a:gd name="connsiteY12" fmla="*/ 985526 h 1189836"/>
              <a:gd name="connsiteX13" fmla="*/ 639997 w 1564191"/>
              <a:gd name="connsiteY13" fmla="*/ 985526 h 1189836"/>
              <a:gd name="connsiteX14" fmla="*/ 639997 w 1564191"/>
              <a:gd name="connsiteY14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419659 w 1564191"/>
              <a:gd name="connsiteY7" fmla="*/ 535648 h 1189836"/>
              <a:gd name="connsiteX8" fmla="*/ 939150 w 1564191"/>
              <a:gd name="connsiteY8" fmla="*/ 984963 h 1189836"/>
              <a:gd name="connsiteX9" fmla="*/ 939150 w 1564191"/>
              <a:gd name="connsiteY9" fmla="*/ 985526 h 1189836"/>
              <a:gd name="connsiteX10" fmla="*/ 933544 w 1564191"/>
              <a:gd name="connsiteY10" fmla="*/ 985526 h 1189836"/>
              <a:gd name="connsiteX11" fmla="*/ 931752 w 1564191"/>
              <a:gd name="connsiteY11" fmla="*/ 985706 h 1189836"/>
              <a:gd name="connsiteX12" fmla="*/ 931752 w 1564191"/>
              <a:gd name="connsiteY12" fmla="*/ 985526 h 1189836"/>
              <a:gd name="connsiteX13" fmla="*/ 639997 w 1564191"/>
              <a:gd name="connsiteY13" fmla="*/ 985526 h 1189836"/>
              <a:gd name="connsiteX14" fmla="*/ 639997 w 1564191"/>
              <a:gd name="connsiteY14" fmla="*/ 1189836 h 118983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939150 w 1938047"/>
              <a:gd name="connsiteY4" fmla="*/ 481656 h 1094586"/>
              <a:gd name="connsiteX5" fmla="*/ 939150 w 1938047"/>
              <a:gd name="connsiteY5" fmla="*/ 481988 h 1094586"/>
              <a:gd name="connsiteX6" fmla="*/ 1938047 w 1938047"/>
              <a:gd name="connsiteY6" fmla="*/ 0 h 1094586"/>
              <a:gd name="connsiteX7" fmla="*/ 1419659 w 1938047"/>
              <a:gd name="connsiteY7" fmla="*/ 440398 h 1094586"/>
              <a:gd name="connsiteX8" fmla="*/ 939150 w 1938047"/>
              <a:gd name="connsiteY8" fmla="*/ 889713 h 1094586"/>
              <a:gd name="connsiteX9" fmla="*/ 939150 w 1938047"/>
              <a:gd name="connsiteY9" fmla="*/ 890276 h 1094586"/>
              <a:gd name="connsiteX10" fmla="*/ 933544 w 1938047"/>
              <a:gd name="connsiteY10" fmla="*/ 890276 h 1094586"/>
              <a:gd name="connsiteX11" fmla="*/ 931752 w 1938047"/>
              <a:gd name="connsiteY11" fmla="*/ 890456 h 1094586"/>
              <a:gd name="connsiteX12" fmla="*/ 931752 w 1938047"/>
              <a:gd name="connsiteY12" fmla="*/ 890276 h 1094586"/>
              <a:gd name="connsiteX13" fmla="*/ 639997 w 1938047"/>
              <a:gd name="connsiteY13" fmla="*/ 890276 h 1094586"/>
              <a:gd name="connsiteX14" fmla="*/ 639997 w 1938047"/>
              <a:gd name="connsiteY14" fmla="*/ 1094586 h 109458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939150 w 1938047"/>
              <a:gd name="connsiteY4" fmla="*/ 481656 h 1094586"/>
              <a:gd name="connsiteX5" fmla="*/ 939150 w 1938047"/>
              <a:gd name="connsiteY5" fmla="*/ 481988 h 1094586"/>
              <a:gd name="connsiteX6" fmla="*/ 1938047 w 1938047"/>
              <a:gd name="connsiteY6" fmla="*/ 0 h 1094586"/>
              <a:gd name="connsiteX7" fmla="*/ 1483952 w 1938047"/>
              <a:gd name="connsiteY7" fmla="*/ 502310 h 1094586"/>
              <a:gd name="connsiteX8" fmla="*/ 939150 w 1938047"/>
              <a:gd name="connsiteY8" fmla="*/ 889713 h 1094586"/>
              <a:gd name="connsiteX9" fmla="*/ 939150 w 1938047"/>
              <a:gd name="connsiteY9" fmla="*/ 890276 h 1094586"/>
              <a:gd name="connsiteX10" fmla="*/ 933544 w 1938047"/>
              <a:gd name="connsiteY10" fmla="*/ 890276 h 1094586"/>
              <a:gd name="connsiteX11" fmla="*/ 931752 w 1938047"/>
              <a:gd name="connsiteY11" fmla="*/ 890456 h 1094586"/>
              <a:gd name="connsiteX12" fmla="*/ 931752 w 1938047"/>
              <a:gd name="connsiteY12" fmla="*/ 890276 h 1094586"/>
              <a:gd name="connsiteX13" fmla="*/ 639997 w 1938047"/>
              <a:gd name="connsiteY13" fmla="*/ 890276 h 1094586"/>
              <a:gd name="connsiteX14" fmla="*/ 639997 w 1938047"/>
              <a:gd name="connsiteY14" fmla="*/ 1094586 h 109458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939150 w 1938047"/>
              <a:gd name="connsiteY4" fmla="*/ 481656 h 1094586"/>
              <a:gd name="connsiteX5" fmla="*/ 939150 w 1938047"/>
              <a:gd name="connsiteY5" fmla="*/ 481988 h 1094586"/>
              <a:gd name="connsiteX6" fmla="*/ 1938047 w 1938047"/>
              <a:gd name="connsiteY6" fmla="*/ 0 h 1094586"/>
              <a:gd name="connsiteX7" fmla="*/ 1483952 w 1938047"/>
              <a:gd name="connsiteY7" fmla="*/ 502310 h 1094586"/>
              <a:gd name="connsiteX8" fmla="*/ 939150 w 1938047"/>
              <a:gd name="connsiteY8" fmla="*/ 889713 h 1094586"/>
              <a:gd name="connsiteX9" fmla="*/ 939150 w 1938047"/>
              <a:gd name="connsiteY9" fmla="*/ 890276 h 1094586"/>
              <a:gd name="connsiteX10" fmla="*/ 933544 w 1938047"/>
              <a:gd name="connsiteY10" fmla="*/ 890276 h 1094586"/>
              <a:gd name="connsiteX11" fmla="*/ 931752 w 1938047"/>
              <a:gd name="connsiteY11" fmla="*/ 890456 h 1094586"/>
              <a:gd name="connsiteX12" fmla="*/ 931752 w 1938047"/>
              <a:gd name="connsiteY12" fmla="*/ 890276 h 1094586"/>
              <a:gd name="connsiteX13" fmla="*/ 639997 w 1938047"/>
              <a:gd name="connsiteY13" fmla="*/ 890276 h 1094586"/>
              <a:gd name="connsiteX14" fmla="*/ 639997 w 1938047"/>
              <a:gd name="connsiteY14" fmla="*/ 1094586 h 109458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939150 w 1938047"/>
              <a:gd name="connsiteY4" fmla="*/ 481656 h 1094586"/>
              <a:gd name="connsiteX5" fmla="*/ 1938047 w 1938047"/>
              <a:gd name="connsiteY5" fmla="*/ 0 h 1094586"/>
              <a:gd name="connsiteX6" fmla="*/ 1483952 w 1938047"/>
              <a:gd name="connsiteY6" fmla="*/ 502310 h 1094586"/>
              <a:gd name="connsiteX7" fmla="*/ 939150 w 1938047"/>
              <a:gd name="connsiteY7" fmla="*/ 889713 h 1094586"/>
              <a:gd name="connsiteX8" fmla="*/ 939150 w 1938047"/>
              <a:gd name="connsiteY8" fmla="*/ 890276 h 1094586"/>
              <a:gd name="connsiteX9" fmla="*/ 933544 w 1938047"/>
              <a:gd name="connsiteY9" fmla="*/ 890276 h 1094586"/>
              <a:gd name="connsiteX10" fmla="*/ 931752 w 1938047"/>
              <a:gd name="connsiteY10" fmla="*/ 890456 h 1094586"/>
              <a:gd name="connsiteX11" fmla="*/ 931752 w 1938047"/>
              <a:gd name="connsiteY11" fmla="*/ 890276 h 1094586"/>
              <a:gd name="connsiteX12" fmla="*/ 639997 w 1938047"/>
              <a:gd name="connsiteY12" fmla="*/ 890276 h 1094586"/>
              <a:gd name="connsiteX13" fmla="*/ 639997 w 1938047"/>
              <a:gd name="connsiteY13" fmla="*/ 1094586 h 109458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1938047 w 1938047"/>
              <a:gd name="connsiteY4" fmla="*/ 0 h 1094586"/>
              <a:gd name="connsiteX5" fmla="*/ 1483952 w 1938047"/>
              <a:gd name="connsiteY5" fmla="*/ 502310 h 1094586"/>
              <a:gd name="connsiteX6" fmla="*/ 939150 w 1938047"/>
              <a:gd name="connsiteY6" fmla="*/ 889713 h 1094586"/>
              <a:gd name="connsiteX7" fmla="*/ 939150 w 1938047"/>
              <a:gd name="connsiteY7" fmla="*/ 890276 h 1094586"/>
              <a:gd name="connsiteX8" fmla="*/ 933544 w 1938047"/>
              <a:gd name="connsiteY8" fmla="*/ 890276 h 1094586"/>
              <a:gd name="connsiteX9" fmla="*/ 931752 w 1938047"/>
              <a:gd name="connsiteY9" fmla="*/ 890456 h 1094586"/>
              <a:gd name="connsiteX10" fmla="*/ 931752 w 1938047"/>
              <a:gd name="connsiteY10" fmla="*/ 890276 h 1094586"/>
              <a:gd name="connsiteX11" fmla="*/ 639997 w 1938047"/>
              <a:gd name="connsiteY11" fmla="*/ 890276 h 1094586"/>
              <a:gd name="connsiteX12" fmla="*/ 639997 w 1938047"/>
              <a:gd name="connsiteY12" fmla="*/ 1094586 h 109458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1938047 w 1938047"/>
              <a:gd name="connsiteY4" fmla="*/ 0 h 1094586"/>
              <a:gd name="connsiteX5" fmla="*/ 1483952 w 1938047"/>
              <a:gd name="connsiteY5" fmla="*/ 502310 h 1094586"/>
              <a:gd name="connsiteX6" fmla="*/ 939150 w 1938047"/>
              <a:gd name="connsiteY6" fmla="*/ 889713 h 1094586"/>
              <a:gd name="connsiteX7" fmla="*/ 939150 w 1938047"/>
              <a:gd name="connsiteY7" fmla="*/ 890276 h 1094586"/>
              <a:gd name="connsiteX8" fmla="*/ 933544 w 1938047"/>
              <a:gd name="connsiteY8" fmla="*/ 890276 h 1094586"/>
              <a:gd name="connsiteX9" fmla="*/ 931752 w 1938047"/>
              <a:gd name="connsiteY9" fmla="*/ 890456 h 1094586"/>
              <a:gd name="connsiteX10" fmla="*/ 931752 w 1938047"/>
              <a:gd name="connsiteY10" fmla="*/ 890276 h 1094586"/>
              <a:gd name="connsiteX11" fmla="*/ 639997 w 1938047"/>
              <a:gd name="connsiteY11" fmla="*/ 890276 h 1094586"/>
              <a:gd name="connsiteX12" fmla="*/ 639997 w 1938047"/>
              <a:gd name="connsiteY12" fmla="*/ 1094586 h 109458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1938047 w 1938047"/>
              <a:gd name="connsiteY4" fmla="*/ 0 h 1094586"/>
              <a:gd name="connsiteX5" fmla="*/ 1483952 w 1938047"/>
              <a:gd name="connsiteY5" fmla="*/ 502310 h 1094586"/>
              <a:gd name="connsiteX6" fmla="*/ 939150 w 1938047"/>
              <a:gd name="connsiteY6" fmla="*/ 889713 h 1094586"/>
              <a:gd name="connsiteX7" fmla="*/ 939150 w 1938047"/>
              <a:gd name="connsiteY7" fmla="*/ 890276 h 1094586"/>
              <a:gd name="connsiteX8" fmla="*/ 933544 w 1938047"/>
              <a:gd name="connsiteY8" fmla="*/ 890276 h 1094586"/>
              <a:gd name="connsiteX9" fmla="*/ 931752 w 1938047"/>
              <a:gd name="connsiteY9" fmla="*/ 890456 h 1094586"/>
              <a:gd name="connsiteX10" fmla="*/ 931752 w 1938047"/>
              <a:gd name="connsiteY10" fmla="*/ 890276 h 1094586"/>
              <a:gd name="connsiteX11" fmla="*/ 639997 w 1938047"/>
              <a:gd name="connsiteY11" fmla="*/ 890276 h 1094586"/>
              <a:gd name="connsiteX12" fmla="*/ 639997 w 1938047"/>
              <a:gd name="connsiteY12" fmla="*/ 1094586 h 1094586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39227 w 1860409"/>
              <a:gd name="connsiteY5" fmla="*/ 717971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39227 w 1860409"/>
              <a:gd name="connsiteY5" fmla="*/ 717971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90986 w 1860409"/>
              <a:gd name="connsiteY5" fmla="*/ 700718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90986 w 1860409"/>
              <a:gd name="connsiteY5" fmla="*/ 700718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90986 w 1860409"/>
              <a:gd name="connsiteY5" fmla="*/ 700718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90986 w 1860409"/>
              <a:gd name="connsiteY5" fmla="*/ 700718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90986 w 1860409"/>
              <a:gd name="connsiteY5" fmla="*/ 700718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90986 w 1860409"/>
              <a:gd name="connsiteY5" fmla="*/ 700718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974"/>
              <a:gd name="connsiteY0" fmla="*/ 1275741 h 1275741"/>
              <a:gd name="connsiteX1" fmla="*/ 0 w 1860974"/>
              <a:gd name="connsiteY1" fmla="*/ 867121 h 1275741"/>
              <a:gd name="connsiteX2" fmla="*/ 639997 w 1860974"/>
              <a:gd name="connsiteY2" fmla="*/ 458501 h 1275741"/>
              <a:gd name="connsiteX3" fmla="*/ 639997 w 1860974"/>
              <a:gd name="connsiteY3" fmla="*/ 662811 h 1275741"/>
              <a:gd name="connsiteX4" fmla="*/ 1860409 w 1860974"/>
              <a:gd name="connsiteY4" fmla="*/ 0 h 1275741"/>
              <a:gd name="connsiteX5" fmla="*/ 1690986 w 1860974"/>
              <a:gd name="connsiteY5" fmla="*/ 700718 h 1275741"/>
              <a:gd name="connsiteX6" fmla="*/ 939150 w 1860974"/>
              <a:gd name="connsiteY6" fmla="*/ 1070868 h 1275741"/>
              <a:gd name="connsiteX7" fmla="*/ 939150 w 1860974"/>
              <a:gd name="connsiteY7" fmla="*/ 1071431 h 1275741"/>
              <a:gd name="connsiteX8" fmla="*/ 933544 w 1860974"/>
              <a:gd name="connsiteY8" fmla="*/ 1071431 h 1275741"/>
              <a:gd name="connsiteX9" fmla="*/ 931752 w 1860974"/>
              <a:gd name="connsiteY9" fmla="*/ 1071611 h 1275741"/>
              <a:gd name="connsiteX10" fmla="*/ 931752 w 1860974"/>
              <a:gd name="connsiteY10" fmla="*/ 1071431 h 1275741"/>
              <a:gd name="connsiteX11" fmla="*/ 639997 w 1860974"/>
              <a:gd name="connsiteY11" fmla="*/ 1071431 h 1275741"/>
              <a:gd name="connsiteX12" fmla="*/ 639997 w 1860974"/>
              <a:gd name="connsiteY12" fmla="*/ 1275741 h 1275741"/>
              <a:gd name="connsiteX0" fmla="*/ 657407 w 1878384"/>
              <a:gd name="connsiteY0" fmla="*/ 1275741 h 1275741"/>
              <a:gd name="connsiteX1" fmla="*/ 0 w 1878384"/>
              <a:gd name="connsiteY1" fmla="*/ 806186 h 1275741"/>
              <a:gd name="connsiteX2" fmla="*/ 657407 w 1878384"/>
              <a:gd name="connsiteY2" fmla="*/ 458501 h 1275741"/>
              <a:gd name="connsiteX3" fmla="*/ 657407 w 1878384"/>
              <a:gd name="connsiteY3" fmla="*/ 662811 h 1275741"/>
              <a:gd name="connsiteX4" fmla="*/ 1877819 w 1878384"/>
              <a:gd name="connsiteY4" fmla="*/ 0 h 1275741"/>
              <a:gd name="connsiteX5" fmla="*/ 1708396 w 1878384"/>
              <a:gd name="connsiteY5" fmla="*/ 700718 h 1275741"/>
              <a:gd name="connsiteX6" fmla="*/ 956560 w 1878384"/>
              <a:gd name="connsiteY6" fmla="*/ 1070868 h 1275741"/>
              <a:gd name="connsiteX7" fmla="*/ 956560 w 1878384"/>
              <a:gd name="connsiteY7" fmla="*/ 1071431 h 1275741"/>
              <a:gd name="connsiteX8" fmla="*/ 950954 w 1878384"/>
              <a:gd name="connsiteY8" fmla="*/ 1071431 h 1275741"/>
              <a:gd name="connsiteX9" fmla="*/ 949162 w 1878384"/>
              <a:gd name="connsiteY9" fmla="*/ 1071611 h 1275741"/>
              <a:gd name="connsiteX10" fmla="*/ 949162 w 1878384"/>
              <a:gd name="connsiteY10" fmla="*/ 1071431 h 1275741"/>
              <a:gd name="connsiteX11" fmla="*/ 657407 w 1878384"/>
              <a:gd name="connsiteY11" fmla="*/ 1071431 h 1275741"/>
              <a:gd name="connsiteX12" fmla="*/ 657407 w 1878384"/>
              <a:gd name="connsiteY12" fmla="*/ 1275741 h 1275741"/>
              <a:gd name="connsiteX0" fmla="*/ 648701 w 1869678"/>
              <a:gd name="connsiteY0" fmla="*/ 1275741 h 1275741"/>
              <a:gd name="connsiteX1" fmla="*/ 0 w 1869678"/>
              <a:gd name="connsiteY1" fmla="*/ 745250 h 1275741"/>
              <a:gd name="connsiteX2" fmla="*/ 648701 w 1869678"/>
              <a:gd name="connsiteY2" fmla="*/ 458501 h 1275741"/>
              <a:gd name="connsiteX3" fmla="*/ 648701 w 1869678"/>
              <a:gd name="connsiteY3" fmla="*/ 662811 h 1275741"/>
              <a:gd name="connsiteX4" fmla="*/ 1869113 w 1869678"/>
              <a:gd name="connsiteY4" fmla="*/ 0 h 1275741"/>
              <a:gd name="connsiteX5" fmla="*/ 1699690 w 1869678"/>
              <a:gd name="connsiteY5" fmla="*/ 700718 h 1275741"/>
              <a:gd name="connsiteX6" fmla="*/ 947854 w 1869678"/>
              <a:gd name="connsiteY6" fmla="*/ 1070868 h 1275741"/>
              <a:gd name="connsiteX7" fmla="*/ 947854 w 1869678"/>
              <a:gd name="connsiteY7" fmla="*/ 1071431 h 1275741"/>
              <a:gd name="connsiteX8" fmla="*/ 942248 w 1869678"/>
              <a:gd name="connsiteY8" fmla="*/ 1071431 h 1275741"/>
              <a:gd name="connsiteX9" fmla="*/ 940456 w 1869678"/>
              <a:gd name="connsiteY9" fmla="*/ 1071611 h 1275741"/>
              <a:gd name="connsiteX10" fmla="*/ 940456 w 1869678"/>
              <a:gd name="connsiteY10" fmla="*/ 1071431 h 1275741"/>
              <a:gd name="connsiteX11" fmla="*/ 648701 w 1869678"/>
              <a:gd name="connsiteY11" fmla="*/ 1071431 h 1275741"/>
              <a:gd name="connsiteX12" fmla="*/ 648701 w 1869678"/>
              <a:gd name="connsiteY12" fmla="*/ 1275741 h 1275741"/>
              <a:gd name="connsiteX0" fmla="*/ 648701 w 1869678"/>
              <a:gd name="connsiteY0" fmla="*/ 1275741 h 1275741"/>
              <a:gd name="connsiteX1" fmla="*/ 0 w 1869678"/>
              <a:gd name="connsiteY1" fmla="*/ 745250 h 1275741"/>
              <a:gd name="connsiteX2" fmla="*/ 692227 w 1869678"/>
              <a:gd name="connsiteY2" fmla="*/ 467206 h 1275741"/>
              <a:gd name="connsiteX3" fmla="*/ 648701 w 1869678"/>
              <a:gd name="connsiteY3" fmla="*/ 662811 h 1275741"/>
              <a:gd name="connsiteX4" fmla="*/ 1869113 w 1869678"/>
              <a:gd name="connsiteY4" fmla="*/ 0 h 1275741"/>
              <a:gd name="connsiteX5" fmla="*/ 1699690 w 1869678"/>
              <a:gd name="connsiteY5" fmla="*/ 700718 h 1275741"/>
              <a:gd name="connsiteX6" fmla="*/ 947854 w 1869678"/>
              <a:gd name="connsiteY6" fmla="*/ 1070868 h 1275741"/>
              <a:gd name="connsiteX7" fmla="*/ 947854 w 1869678"/>
              <a:gd name="connsiteY7" fmla="*/ 1071431 h 1275741"/>
              <a:gd name="connsiteX8" fmla="*/ 942248 w 1869678"/>
              <a:gd name="connsiteY8" fmla="*/ 1071431 h 1275741"/>
              <a:gd name="connsiteX9" fmla="*/ 940456 w 1869678"/>
              <a:gd name="connsiteY9" fmla="*/ 1071611 h 1275741"/>
              <a:gd name="connsiteX10" fmla="*/ 940456 w 1869678"/>
              <a:gd name="connsiteY10" fmla="*/ 1071431 h 1275741"/>
              <a:gd name="connsiteX11" fmla="*/ 648701 w 1869678"/>
              <a:gd name="connsiteY11" fmla="*/ 1071431 h 1275741"/>
              <a:gd name="connsiteX12" fmla="*/ 648701 w 1869678"/>
              <a:gd name="connsiteY12" fmla="*/ 1275741 h 1275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869678" h="1275741">
                <a:moveTo>
                  <a:pt x="648701" y="1275741"/>
                </a:moveTo>
                <a:lnTo>
                  <a:pt x="0" y="745250"/>
                </a:lnTo>
                <a:lnTo>
                  <a:pt x="692227" y="467206"/>
                </a:lnTo>
                <a:lnTo>
                  <a:pt x="648701" y="662811"/>
                </a:lnTo>
                <a:cubicBezTo>
                  <a:pt x="1357429" y="830061"/>
                  <a:pt x="1695222" y="453850"/>
                  <a:pt x="1869113" y="0"/>
                </a:cubicBezTo>
                <a:cubicBezTo>
                  <a:pt x="1874698" y="336676"/>
                  <a:pt x="1840380" y="504920"/>
                  <a:pt x="1699690" y="700718"/>
                </a:cubicBezTo>
                <a:cubicBezTo>
                  <a:pt x="1447095" y="992167"/>
                  <a:pt x="1195243" y="1067624"/>
                  <a:pt x="947854" y="1070868"/>
                </a:cubicBezTo>
                <a:lnTo>
                  <a:pt x="947854" y="1071431"/>
                </a:lnTo>
                <a:lnTo>
                  <a:pt x="942248" y="1071431"/>
                </a:lnTo>
                <a:cubicBezTo>
                  <a:pt x="941652" y="1071610"/>
                  <a:pt x="941054" y="1071611"/>
                  <a:pt x="940456" y="1071611"/>
                </a:cubicBezTo>
                <a:lnTo>
                  <a:pt x="940456" y="1071431"/>
                </a:lnTo>
                <a:lnTo>
                  <a:pt x="648701" y="1071431"/>
                </a:lnTo>
                <a:lnTo>
                  <a:pt x="648701" y="1275741"/>
                </a:lnTo>
                <a:close/>
              </a:path>
            </a:pathLst>
          </a:custGeom>
          <a:solidFill>
            <a:srgbClr val="04AA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cs typeface="+mn-cs"/>
            </a:endParaRPr>
          </a:p>
        </p:txBody>
      </p:sp>
      <p:sp>
        <p:nvSpPr>
          <p:cNvPr id="18" name="Rectangle: Rounded Corners 34">
            <a:extLst>
              <a:ext uri="{FF2B5EF4-FFF2-40B4-BE49-F238E27FC236}">
                <a16:creationId xmlns:a16="http://schemas.microsoft.com/office/drawing/2014/main" id="{158495A0-CEE7-4AA5-A47D-EDE92753AE38}"/>
              </a:ext>
            </a:extLst>
          </p:cNvPr>
          <p:cNvSpPr/>
          <p:nvPr/>
        </p:nvSpPr>
        <p:spPr>
          <a:xfrm>
            <a:off x="3964931" y="1270829"/>
            <a:ext cx="7789950" cy="5374520"/>
          </a:xfrm>
          <a:prstGeom prst="roundRect">
            <a:avLst>
              <a:gd name="adj" fmla="val 3935"/>
            </a:avLst>
          </a:prstGeom>
          <a:noFill/>
          <a:ln w="349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70E152D-7819-471F-9B09-61680F355182}"/>
              </a:ext>
            </a:extLst>
          </p:cNvPr>
          <p:cNvSpPr txBox="1"/>
          <p:nvPr/>
        </p:nvSpPr>
        <p:spPr>
          <a:xfrm>
            <a:off x="51282" y="1175682"/>
            <a:ext cx="1134358" cy="110799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66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/>
                <a:cs typeface="Arial" pitchFamily="34" charset="0"/>
              </a:rPr>
              <a:t>1</a:t>
            </a:r>
            <a:endParaRPr kumimoji="0" lang="ko-KR" altLang="en-US" sz="6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718076E-1C56-446F-86DA-663FC54A9B75}"/>
              </a:ext>
            </a:extLst>
          </p:cNvPr>
          <p:cNvSpPr txBox="1"/>
          <p:nvPr/>
        </p:nvSpPr>
        <p:spPr>
          <a:xfrm>
            <a:off x="794904" y="1325225"/>
            <a:ext cx="266011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ko-KR" sz="2800" b="1" i="0" u="none" strike="noStrike" kern="1200" cap="none" spc="0" normalizeH="0" baseline="0" noProof="0" dirty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/>
                <a:cs typeface="Arial" pitchFamily="34" charset="0"/>
              </a:rPr>
              <a:t>НАСЕЛЕНИЕ</a:t>
            </a:r>
            <a:endParaRPr kumimoji="0" lang="ko-KR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1BCCB3"/>
              </a:solidFill>
              <a:effectLst/>
              <a:uLnTx/>
              <a:uFillTx/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47EB6C9-7E8A-4854-91AB-C1A564AA2407}"/>
              </a:ext>
            </a:extLst>
          </p:cNvPr>
          <p:cNvSpPr txBox="1"/>
          <p:nvPr/>
        </p:nvSpPr>
        <p:spPr>
          <a:xfrm>
            <a:off x="794904" y="1852731"/>
            <a:ext cx="2377440" cy="38010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white"/>
                </a:solidFill>
              </a:rPr>
              <a:t>Возможность участия </a:t>
            </a:r>
            <a:r>
              <a:rPr lang="ru-RU" sz="1400" dirty="0" smtClean="0">
                <a:solidFill>
                  <a:prstClr val="white"/>
                </a:solidFill>
              </a:rPr>
              <a:t>в </a:t>
            </a:r>
            <a:r>
              <a:rPr lang="ru-RU" sz="1400" dirty="0">
                <a:solidFill>
                  <a:prstClr val="white"/>
                </a:solidFill>
              </a:rPr>
              <a:t>выборе приоритетных объектов культуры и их целевом назначении </a:t>
            </a:r>
          </a:p>
          <a:p>
            <a:pPr marL="171450" lvl="0" indent="-171450"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Увеличение посещаемости</a:t>
            </a:r>
          </a:p>
          <a:p>
            <a:pPr marL="171450" lvl="0" indent="-171450"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white"/>
                </a:solidFill>
              </a:rPr>
              <a:t>Создание условий для творческого развития и самореализации</a:t>
            </a:r>
          </a:p>
          <a:p>
            <a:pPr marL="171450" indent="-171450"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white"/>
                </a:solidFill>
              </a:rPr>
              <a:t>Создание новых рабочих мест, включая развитие </a:t>
            </a:r>
            <a:r>
              <a:rPr lang="ru-RU" sz="1400" dirty="0" smtClean="0">
                <a:solidFill>
                  <a:prstClr val="white"/>
                </a:solidFill>
              </a:rPr>
              <a:t>туризма</a:t>
            </a:r>
            <a:endParaRPr lang="ru-RU" sz="1400" dirty="0">
              <a:solidFill>
                <a:prstClr val="white"/>
              </a:solidFill>
            </a:endParaRPr>
          </a:p>
        </p:txBody>
      </p:sp>
      <p:grpSp>
        <p:nvGrpSpPr>
          <p:cNvPr id="24" name="Группа 23"/>
          <p:cNvGrpSpPr/>
          <p:nvPr/>
        </p:nvGrpSpPr>
        <p:grpSpPr>
          <a:xfrm>
            <a:off x="3873774" y="1229732"/>
            <a:ext cx="3967458" cy="1107996"/>
            <a:chOff x="4086424" y="1229732"/>
            <a:chExt cx="3967458" cy="1107996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A21B930-3EF3-4908-AD73-088D6D785153}"/>
                </a:ext>
              </a:extLst>
            </p:cNvPr>
            <p:cNvSpPr txBox="1"/>
            <p:nvPr/>
          </p:nvSpPr>
          <p:spPr>
            <a:xfrm>
              <a:off x="4086424" y="1229732"/>
              <a:ext cx="1134358" cy="11079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66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Arial Unicode MS"/>
                  <a:cs typeface="Arial" pitchFamily="34" charset="0"/>
                </a:rPr>
                <a:t>2</a:t>
              </a:r>
              <a:endParaRPr kumimoji="0" lang="ko-KR" altLang="en-US" sz="66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cs typeface="Arial" pitchFamily="34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13B43B9A-5F8A-4F68-82BF-029331E4F538}"/>
                </a:ext>
              </a:extLst>
            </p:cNvPr>
            <p:cNvSpPr txBox="1"/>
            <p:nvPr/>
          </p:nvSpPr>
          <p:spPr>
            <a:xfrm>
              <a:off x="4928272" y="1403498"/>
              <a:ext cx="312561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ko-KR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04AAC1"/>
                  </a:solidFill>
                  <a:effectLst/>
                  <a:uLnTx/>
                  <a:uFillTx/>
                  <a:latin typeface="Century Gothic" panose="020B0502020202020204" pitchFamily="34" charset="0"/>
                  <a:ea typeface="Arial Unicode MS"/>
                  <a:cs typeface="Arial" pitchFamily="34" charset="0"/>
                </a:rPr>
                <a:t>ГОС. ОРГАНЫ</a:t>
              </a:r>
              <a:endParaRPr kumimoji="0" lang="ko-KR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4AAC1"/>
                </a:solidFill>
                <a:effectLst/>
                <a:uLnTx/>
                <a:uFillTx/>
                <a:latin typeface="Century Gothic" panose="020B0502020202020204" pitchFamily="34" charset="0"/>
                <a:cs typeface="Arial" pitchFamily="34" charset="0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37599C0-5A9B-483A-8F18-2E293EFC2B38}"/>
                </a:ext>
              </a:extLst>
            </p:cNvPr>
            <p:cNvSpPr txBox="1"/>
            <p:nvPr/>
          </p:nvSpPr>
          <p:spPr>
            <a:xfrm>
              <a:off x="4965761" y="1870992"/>
              <a:ext cx="278537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2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cs typeface="Arial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/>
                <a:cs typeface="Arial" pitchFamily="34" charset="0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247EB6C9-7E8A-4854-91AB-C1A564AA2407}"/>
              </a:ext>
            </a:extLst>
          </p:cNvPr>
          <p:cNvSpPr txBox="1"/>
          <p:nvPr/>
        </p:nvSpPr>
        <p:spPr>
          <a:xfrm>
            <a:off x="4918094" y="1830232"/>
            <a:ext cx="2530670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Aft>
                <a:spcPts val="600"/>
              </a:spcAft>
              <a:defRPr/>
            </a:pPr>
            <a:r>
              <a:rPr lang="ru-RU" sz="1400" b="1" dirty="0">
                <a:solidFill>
                  <a:srgbClr val="04AAC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Федеральный уровень </a:t>
            </a:r>
            <a:r>
              <a:rPr lang="ru-RU" sz="1400" dirty="0">
                <a:solidFill>
                  <a:srgbClr val="04AAC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Голикова Т.А.)</a:t>
            </a:r>
          </a:p>
          <a:p>
            <a:pPr lvl="0">
              <a:spcAft>
                <a:spcPts val="600"/>
              </a:spcAft>
              <a:defRPr/>
            </a:pPr>
            <a:r>
              <a:rPr lang="ru-RU" sz="1400" b="1" dirty="0">
                <a:solidFill>
                  <a:srgbClr val="04AAC1"/>
                </a:solidFill>
                <a:cs typeface="Times New Roman" panose="02020603050405020304" pitchFamily="18" charset="0"/>
              </a:rPr>
              <a:t>Региональный уровень </a:t>
            </a:r>
            <a:r>
              <a:rPr lang="ru-RU" sz="1400" dirty="0">
                <a:solidFill>
                  <a:srgbClr val="04AAC1"/>
                </a:solidFill>
                <a:cs typeface="Times New Roman" panose="02020603050405020304" pitchFamily="18" charset="0"/>
              </a:rPr>
              <a:t>(главы </a:t>
            </a:r>
            <a:r>
              <a:rPr lang="ru-RU" sz="1400" dirty="0" smtClean="0">
                <a:solidFill>
                  <a:srgbClr val="04AAC1"/>
                </a:solidFill>
                <a:cs typeface="Times New Roman" panose="02020603050405020304" pitchFamily="18" charset="0"/>
              </a:rPr>
              <a:t>субъектов РФ)</a:t>
            </a:r>
            <a:endParaRPr lang="ru-RU" sz="1400" dirty="0">
              <a:solidFill>
                <a:srgbClr val="04AAC1"/>
              </a:solidFill>
              <a:cs typeface="Times New Roman" panose="02020603050405020304" pitchFamily="18" charset="0"/>
            </a:endParaRPr>
          </a:p>
          <a:p>
            <a:pPr lvl="0">
              <a:spcAft>
                <a:spcPts val="600"/>
              </a:spcAft>
              <a:defRPr/>
            </a:pPr>
            <a:r>
              <a:rPr lang="ru-RU" sz="1400" b="1" dirty="0">
                <a:solidFill>
                  <a:srgbClr val="04AAC1"/>
                </a:solidFill>
              </a:rPr>
              <a:t>Местный уровень     </a:t>
            </a:r>
            <a:r>
              <a:rPr lang="ru-RU" sz="1400" dirty="0">
                <a:solidFill>
                  <a:srgbClr val="04AAC1"/>
                </a:solidFill>
              </a:rPr>
              <a:t>(главы муниципалитетов)</a:t>
            </a:r>
          </a:p>
        </p:txBody>
      </p:sp>
      <p:sp>
        <p:nvSpPr>
          <p:cNvPr id="14" name="Left Arrow 2">
            <a:extLst>
              <a:ext uri="{FF2B5EF4-FFF2-40B4-BE49-F238E27FC236}">
                <a16:creationId xmlns:a16="http://schemas.microsoft.com/office/drawing/2014/main" id="{25CF940B-7890-4DEF-B23D-F2D7EAE81E7E}"/>
              </a:ext>
            </a:extLst>
          </p:cNvPr>
          <p:cNvSpPr/>
          <p:nvPr/>
        </p:nvSpPr>
        <p:spPr>
          <a:xfrm rot="2700000">
            <a:off x="2890796" y="1992178"/>
            <a:ext cx="4054597" cy="4213283"/>
          </a:xfrm>
          <a:custGeom>
            <a:avLst/>
            <a:gdLst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981979 w 1564191"/>
              <a:gd name="connsiteY6" fmla="*/ 528765 h 1189836"/>
              <a:gd name="connsiteX7" fmla="*/ 983944 w 1564191"/>
              <a:gd name="connsiteY7" fmla="*/ 528775 h 1189836"/>
              <a:gd name="connsiteX8" fmla="*/ 1564191 w 1564191"/>
              <a:gd name="connsiteY8" fmla="*/ 0 h 1189836"/>
              <a:gd name="connsiteX9" fmla="*/ 1388017 w 1564191"/>
              <a:gd name="connsiteY9" fmla="*/ 530857 h 1189836"/>
              <a:gd name="connsiteX10" fmla="*/ 1388955 w 1564191"/>
              <a:gd name="connsiteY10" fmla="*/ 530862 h 1189836"/>
              <a:gd name="connsiteX11" fmla="*/ 1388758 w 1564191"/>
              <a:gd name="connsiteY11" fmla="*/ 532748 h 1189836"/>
              <a:gd name="connsiteX12" fmla="*/ 1388961 w 1564191"/>
              <a:gd name="connsiteY12" fmla="*/ 533267 h 1189836"/>
              <a:gd name="connsiteX13" fmla="*/ 1388703 w 1564191"/>
              <a:gd name="connsiteY13" fmla="*/ 533267 h 1189836"/>
              <a:gd name="connsiteX14" fmla="*/ 939150 w 1564191"/>
              <a:gd name="connsiteY14" fmla="*/ 984963 h 1189836"/>
              <a:gd name="connsiteX15" fmla="*/ 939150 w 1564191"/>
              <a:gd name="connsiteY15" fmla="*/ 985526 h 1189836"/>
              <a:gd name="connsiteX16" fmla="*/ 933544 w 1564191"/>
              <a:gd name="connsiteY16" fmla="*/ 985526 h 1189836"/>
              <a:gd name="connsiteX17" fmla="*/ 931752 w 1564191"/>
              <a:gd name="connsiteY17" fmla="*/ 985706 h 1189836"/>
              <a:gd name="connsiteX18" fmla="*/ 931752 w 1564191"/>
              <a:gd name="connsiteY18" fmla="*/ 985526 h 1189836"/>
              <a:gd name="connsiteX19" fmla="*/ 639997 w 1564191"/>
              <a:gd name="connsiteY19" fmla="*/ 985526 h 1189836"/>
              <a:gd name="connsiteX20" fmla="*/ 639997 w 1564191"/>
              <a:gd name="connsiteY20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981979 w 1564191"/>
              <a:gd name="connsiteY6" fmla="*/ 528765 h 1189836"/>
              <a:gd name="connsiteX7" fmla="*/ 983944 w 1564191"/>
              <a:gd name="connsiteY7" fmla="*/ 528775 h 1189836"/>
              <a:gd name="connsiteX8" fmla="*/ 1564191 w 1564191"/>
              <a:gd name="connsiteY8" fmla="*/ 0 h 1189836"/>
              <a:gd name="connsiteX9" fmla="*/ 1388017 w 1564191"/>
              <a:gd name="connsiteY9" fmla="*/ 530857 h 1189836"/>
              <a:gd name="connsiteX10" fmla="*/ 1388955 w 1564191"/>
              <a:gd name="connsiteY10" fmla="*/ 530862 h 1189836"/>
              <a:gd name="connsiteX11" fmla="*/ 1388758 w 1564191"/>
              <a:gd name="connsiteY11" fmla="*/ 532748 h 1189836"/>
              <a:gd name="connsiteX12" fmla="*/ 1388961 w 1564191"/>
              <a:gd name="connsiteY12" fmla="*/ 533267 h 1189836"/>
              <a:gd name="connsiteX13" fmla="*/ 1388703 w 1564191"/>
              <a:gd name="connsiteY13" fmla="*/ 533267 h 1189836"/>
              <a:gd name="connsiteX14" fmla="*/ 939150 w 1564191"/>
              <a:gd name="connsiteY14" fmla="*/ 984963 h 1189836"/>
              <a:gd name="connsiteX15" fmla="*/ 939150 w 1564191"/>
              <a:gd name="connsiteY15" fmla="*/ 985526 h 1189836"/>
              <a:gd name="connsiteX16" fmla="*/ 933544 w 1564191"/>
              <a:gd name="connsiteY16" fmla="*/ 985526 h 1189836"/>
              <a:gd name="connsiteX17" fmla="*/ 931752 w 1564191"/>
              <a:gd name="connsiteY17" fmla="*/ 985706 h 1189836"/>
              <a:gd name="connsiteX18" fmla="*/ 931752 w 1564191"/>
              <a:gd name="connsiteY18" fmla="*/ 985526 h 1189836"/>
              <a:gd name="connsiteX19" fmla="*/ 639997 w 1564191"/>
              <a:gd name="connsiteY19" fmla="*/ 985526 h 1189836"/>
              <a:gd name="connsiteX20" fmla="*/ 639997 w 1564191"/>
              <a:gd name="connsiteY20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981979 w 1564191"/>
              <a:gd name="connsiteY6" fmla="*/ 528765 h 1189836"/>
              <a:gd name="connsiteX7" fmla="*/ 1564191 w 1564191"/>
              <a:gd name="connsiteY7" fmla="*/ 0 h 1189836"/>
              <a:gd name="connsiteX8" fmla="*/ 1388017 w 1564191"/>
              <a:gd name="connsiteY8" fmla="*/ 530857 h 1189836"/>
              <a:gd name="connsiteX9" fmla="*/ 1388955 w 1564191"/>
              <a:gd name="connsiteY9" fmla="*/ 530862 h 1189836"/>
              <a:gd name="connsiteX10" fmla="*/ 1388758 w 1564191"/>
              <a:gd name="connsiteY10" fmla="*/ 532748 h 1189836"/>
              <a:gd name="connsiteX11" fmla="*/ 1388961 w 1564191"/>
              <a:gd name="connsiteY11" fmla="*/ 533267 h 1189836"/>
              <a:gd name="connsiteX12" fmla="*/ 1388703 w 1564191"/>
              <a:gd name="connsiteY12" fmla="*/ 533267 h 1189836"/>
              <a:gd name="connsiteX13" fmla="*/ 939150 w 1564191"/>
              <a:gd name="connsiteY13" fmla="*/ 984963 h 1189836"/>
              <a:gd name="connsiteX14" fmla="*/ 939150 w 1564191"/>
              <a:gd name="connsiteY14" fmla="*/ 985526 h 1189836"/>
              <a:gd name="connsiteX15" fmla="*/ 933544 w 1564191"/>
              <a:gd name="connsiteY15" fmla="*/ 985526 h 1189836"/>
              <a:gd name="connsiteX16" fmla="*/ 931752 w 1564191"/>
              <a:gd name="connsiteY16" fmla="*/ 985706 h 1189836"/>
              <a:gd name="connsiteX17" fmla="*/ 931752 w 1564191"/>
              <a:gd name="connsiteY17" fmla="*/ 985526 h 1189836"/>
              <a:gd name="connsiteX18" fmla="*/ 639997 w 1564191"/>
              <a:gd name="connsiteY18" fmla="*/ 985526 h 1189836"/>
              <a:gd name="connsiteX19" fmla="*/ 639997 w 1564191"/>
              <a:gd name="connsiteY19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388017 w 1564191"/>
              <a:gd name="connsiteY7" fmla="*/ 530857 h 1189836"/>
              <a:gd name="connsiteX8" fmla="*/ 1388955 w 1564191"/>
              <a:gd name="connsiteY8" fmla="*/ 530862 h 1189836"/>
              <a:gd name="connsiteX9" fmla="*/ 1388758 w 1564191"/>
              <a:gd name="connsiteY9" fmla="*/ 532748 h 1189836"/>
              <a:gd name="connsiteX10" fmla="*/ 1388961 w 1564191"/>
              <a:gd name="connsiteY10" fmla="*/ 533267 h 1189836"/>
              <a:gd name="connsiteX11" fmla="*/ 1388703 w 1564191"/>
              <a:gd name="connsiteY11" fmla="*/ 533267 h 1189836"/>
              <a:gd name="connsiteX12" fmla="*/ 939150 w 1564191"/>
              <a:gd name="connsiteY12" fmla="*/ 984963 h 1189836"/>
              <a:gd name="connsiteX13" fmla="*/ 939150 w 1564191"/>
              <a:gd name="connsiteY13" fmla="*/ 985526 h 1189836"/>
              <a:gd name="connsiteX14" fmla="*/ 933544 w 1564191"/>
              <a:gd name="connsiteY14" fmla="*/ 985526 h 1189836"/>
              <a:gd name="connsiteX15" fmla="*/ 931752 w 1564191"/>
              <a:gd name="connsiteY15" fmla="*/ 985706 h 1189836"/>
              <a:gd name="connsiteX16" fmla="*/ 931752 w 1564191"/>
              <a:gd name="connsiteY16" fmla="*/ 985526 h 1189836"/>
              <a:gd name="connsiteX17" fmla="*/ 639997 w 1564191"/>
              <a:gd name="connsiteY17" fmla="*/ 985526 h 1189836"/>
              <a:gd name="connsiteX18" fmla="*/ 639997 w 1564191"/>
              <a:gd name="connsiteY18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388017 w 1564191"/>
              <a:gd name="connsiteY7" fmla="*/ 530857 h 1189836"/>
              <a:gd name="connsiteX8" fmla="*/ 1388955 w 1564191"/>
              <a:gd name="connsiteY8" fmla="*/ 530862 h 1189836"/>
              <a:gd name="connsiteX9" fmla="*/ 1388758 w 1564191"/>
              <a:gd name="connsiteY9" fmla="*/ 532748 h 1189836"/>
              <a:gd name="connsiteX10" fmla="*/ 1388961 w 1564191"/>
              <a:gd name="connsiteY10" fmla="*/ 533267 h 1189836"/>
              <a:gd name="connsiteX11" fmla="*/ 1419659 w 1564191"/>
              <a:gd name="connsiteY11" fmla="*/ 535648 h 1189836"/>
              <a:gd name="connsiteX12" fmla="*/ 939150 w 1564191"/>
              <a:gd name="connsiteY12" fmla="*/ 984963 h 1189836"/>
              <a:gd name="connsiteX13" fmla="*/ 939150 w 1564191"/>
              <a:gd name="connsiteY13" fmla="*/ 985526 h 1189836"/>
              <a:gd name="connsiteX14" fmla="*/ 933544 w 1564191"/>
              <a:gd name="connsiteY14" fmla="*/ 985526 h 1189836"/>
              <a:gd name="connsiteX15" fmla="*/ 931752 w 1564191"/>
              <a:gd name="connsiteY15" fmla="*/ 985706 h 1189836"/>
              <a:gd name="connsiteX16" fmla="*/ 931752 w 1564191"/>
              <a:gd name="connsiteY16" fmla="*/ 985526 h 1189836"/>
              <a:gd name="connsiteX17" fmla="*/ 639997 w 1564191"/>
              <a:gd name="connsiteY17" fmla="*/ 985526 h 1189836"/>
              <a:gd name="connsiteX18" fmla="*/ 639997 w 1564191"/>
              <a:gd name="connsiteY18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388017 w 1564191"/>
              <a:gd name="connsiteY7" fmla="*/ 530857 h 1189836"/>
              <a:gd name="connsiteX8" fmla="*/ 1388955 w 1564191"/>
              <a:gd name="connsiteY8" fmla="*/ 530862 h 1189836"/>
              <a:gd name="connsiteX9" fmla="*/ 1388758 w 1564191"/>
              <a:gd name="connsiteY9" fmla="*/ 532748 h 1189836"/>
              <a:gd name="connsiteX10" fmla="*/ 1419659 w 1564191"/>
              <a:gd name="connsiteY10" fmla="*/ 535648 h 1189836"/>
              <a:gd name="connsiteX11" fmla="*/ 939150 w 1564191"/>
              <a:gd name="connsiteY11" fmla="*/ 984963 h 1189836"/>
              <a:gd name="connsiteX12" fmla="*/ 939150 w 1564191"/>
              <a:gd name="connsiteY12" fmla="*/ 985526 h 1189836"/>
              <a:gd name="connsiteX13" fmla="*/ 933544 w 1564191"/>
              <a:gd name="connsiteY13" fmla="*/ 985526 h 1189836"/>
              <a:gd name="connsiteX14" fmla="*/ 931752 w 1564191"/>
              <a:gd name="connsiteY14" fmla="*/ 985706 h 1189836"/>
              <a:gd name="connsiteX15" fmla="*/ 931752 w 1564191"/>
              <a:gd name="connsiteY15" fmla="*/ 985526 h 1189836"/>
              <a:gd name="connsiteX16" fmla="*/ 639997 w 1564191"/>
              <a:gd name="connsiteY16" fmla="*/ 985526 h 1189836"/>
              <a:gd name="connsiteX17" fmla="*/ 639997 w 1564191"/>
              <a:gd name="connsiteY17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388017 w 1564191"/>
              <a:gd name="connsiteY7" fmla="*/ 530857 h 1189836"/>
              <a:gd name="connsiteX8" fmla="*/ 1388955 w 1564191"/>
              <a:gd name="connsiteY8" fmla="*/ 530862 h 1189836"/>
              <a:gd name="connsiteX9" fmla="*/ 1419659 w 1564191"/>
              <a:gd name="connsiteY9" fmla="*/ 535648 h 1189836"/>
              <a:gd name="connsiteX10" fmla="*/ 939150 w 1564191"/>
              <a:gd name="connsiteY10" fmla="*/ 984963 h 1189836"/>
              <a:gd name="connsiteX11" fmla="*/ 939150 w 1564191"/>
              <a:gd name="connsiteY11" fmla="*/ 985526 h 1189836"/>
              <a:gd name="connsiteX12" fmla="*/ 933544 w 1564191"/>
              <a:gd name="connsiteY12" fmla="*/ 985526 h 1189836"/>
              <a:gd name="connsiteX13" fmla="*/ 931752 w 1564191"/>
              <a:gd name="connsiteY13" fmla="*/ 985706 h 1189836"/>
              <a:gd name="connsiteX14" fmla="*/ 931752 w 1564191"/>
              <a:gd name="connsiteY14" fmla="*/ 985526 h 1189836"/>
              <a:gd name="connsiteX15" fmla="*/ 639997 w 1564191"/>
              <a:gd name="connsiteY15" fmla="*/ 985526 h 1189836"/>
              <a:gd name="connsiteX16" fmla="*/ 639997 w 1564191"/>
              <a:gd name="connsiteY16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388017 w 1564191"/>
              <a:gd name="connsiteY7" fmla="*/ 530857 h 1189836"/>
              <a:gd name="connsiteX8" fmla="*/ 1419659 w 1564191"/>
              <a:gd name="connsiteY8" fmla="*/ 535648 h 1189836"/>
              <a:gd name="connsiteX9" fmla="*/ 939150 w 1564191"/>
              <a:gd name="connsiteY9" fmla="*/ 984963 h 1189836"/>
              <a:gd name="connsiteX10" fmla="*/ 939150 w 1564191"/>
              <a:gd name="connsiteY10" fmla="*/ 985526 h 1189836"/>
              <a:gd name="connsiteX11" fmla="*/ 933544 w 1564191"/>
              <a:gd name="connsiteY11" fmla="*/ 985526 h 1189836"/>
              <a:gd name="connsiteX12" fmla="*/ 931752 w 1564191"/>
              <a:gd name="connsiteY12" fmla="*/ 985706 h 1189836"/>
              <a:gd name="connsiteX13" fmla="*/ 931752 w 1564191"/>
              <a:gd name="connsiteY13" fmla="*/ 985526 h 1189836"/>
              <a:gd name="connsiteX14" fmla="*/ 639997 w 1564191"/>
              <a:gd name="connsiteY14" fmla="*/ 985526 h 1189836"/>
              <a:gd name="connsiteX15" fmla="*/ 639997 w 1564191"/>
              <a:gd name="connsiteY15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419659 w 1564191"/>
              <a:gd name="connsiteY7" fmla="*/ 535648 h 1189836"/>
              <a:gd name="connsiteX8" fmla="*/ 939150 w 1564191"/>
              <a:gd name="connsiteY8" fmla="*/ 984963 h 1189836"/>
              <a:gd name="connsiteX9" fmla="*/ 939150 w 1564191"/>
              <a:gd name="connsiteY9" fmla="*/ 985526 h 1189836"/>
              <a:gd name="connsiteX10" fmla="*/ 933544 w 1564191"/>
              <a:gd name="connsiteY10" fmla="*/ 985526 h 1189836"/>
              <a:gd name="connsiteX11" fmla="*/ 931752 w 1564191"/>
              <a:gd name="connsiteY11" fmla="*/ 985706 h 1189836"/>
              <a:gd name="connsiteX12" fmla="*/ 931752 w 1564191"/>
              <a:gd name="connsiteY12" fmla="*/ 985526 h 1189836"/>
              <a:gd name="connsiteX13" fmla="*/ 639997 w 1564191"/>
              <a:gd name="connsiteY13" fmla="*/ 985526 h 1189836"/>
              <a:gd name="connsiteX14" fmla="*/ 639997 w 1564191"/>
              <a:gd name="connsiteY14" fmla="*/ 1189836 h 1189836"/>
              <a:gd name="connsiteX0" fmla="*/ 639997 w 1564191"/>
              <a:gd name="connsiteY0" fmla="*/ 1189836 h 1189836"/>
              <a:gd name="connsiteX1" fmla="*/ 0 w 1564191"/>
              <a:gd name="connsiteY1" fmla="*/ 781216 h 1189836"/>
              <a:gd name="connsiteX2" fmla="*/ 639997 w 1564191"/>
              <a:gd name="connsiteY2" fmla="*/ 372596 h 1189836"/>
              <a:gd name="connsiteX3" fmla="*/ 639997 w 1564191"/>
              <a:gd name="connsiteY3" fmla="*/ 576906 h 1189836"/>
              <a:gd name="connsiteX4" fmla="*/ 939150 w 1564191"/>
              <a:gd name="connsiteY4" fmla="*/ 576906 h 1189836"/>
              <a:gd name="connsiteX5" fmla="*/ 939150 w 1564191"/>
              <a:gd name="connsiteY5" fmla="*/ 577238 h 1189836"/>
              <a:gd name="connsiteX6" fmla="*/ 1564191 w 1564191"/>
              <a:gd name="connsiteY6" fmla="*/ 0 h 1189836"/>
              <a:gd name="connsiteX7" fmla="*/ 1419659 w 1564191"/>
              <a:gd name="connsiteY7" fmla="*/ 535648 h 1189836"/>
              <a:gd name="connsiteX8" fmla="*/ 939150 w 1564191"/>
              <a:gd name="connsiteY8" fmla="*/ 984963 h 1189836"/>
              <a:gd name="connsiteX9" fmla="*/ 939150 w 1564191"/>
              <a:gd name="connsiteY9" fmla="*/ 985526 h 1189836"/>
              <a:gd name="connsiteX10" fmla="*/ 933544 w 1564191"/>
              <a:gd name="connsiteY10" fmla="*/ 985526 h 1189836"/>
              <a:gd name="connsiteX11" fmla="*/ 931752 w 1564191"/>
              <a:gd name="connsiteY11" fmla="*/ 985706 h 1189836"/>
              <a:gd name="connsiteX12" fmla="*/ 931752 w 1564191"/>
              <a:gd name="connsiteY12" fmla="*/ 985526 h 1189836"/>
              <a:gd name="connsiteX13" fmla="*/ 639997 w 1564191"/>
              <a:gd name="connsiteY13" fmla="*/ 985526 h 1189836"/>
              <a:gd name="connsiteX14" fmla="*/ 639997 w 1564191"/>
              <a:gd name="connsiteY14" fmla="*/ 1189836 h 118983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939150 w 1938047"/>
              <a:gd name="connsiteY4" fmla="*/ 481656 h 1094586"/>
              <a:gd name="connsiteX5" fmla="*/ 939150 w 1938047"/>
              <a:gd name="connsiteY5" fmla="*/ 481988 h 1094586"/>
              <a:gd name="connsiteX6" fmla="*/ 1938047 w 1938047"/>
              <a:gd name="connsiteY6" fmla="*/ 0 h 1094586"/>
              <a:gd name="connsiteX7" fmla="*/ 1419659 w 1938047"/>
              <a:gd name="connsiteY7" fmla="*/ 440398 h 1094586"/>
              <a:gd name="connsiteX8" fmla="*/ 939150 w 1938047"/>
              <a:gd name="connsiteY8" fmla="*/ 889713 h 1094586"/>
              <a:gd name="connsiteX9" fmla="*/ 939150 w 1938047"/>
              <a:gd name="connsiteY9" fmla="*/ 890276 h 1094586"/>
              <a:gd name="connsiteX10" fmla="*/ 933544 w 1938047"/>
              <a:gd name="connsiteY10" fmla="*/ 890276 h 1094586"/>
              <a:gd name="connsiteX11" fmla="*/ 931752 w 1938047"/>
              <a:gd name="connsiteY11" fmla="*/ 890456 h 1094586"/>
              <a:gd name="connsiteX12" fmla="*/ 931752 w 1938047"/>
              <a:gd name="connsiteY12" fmla="*/ 890276 h 1094586"/>
              <a:gd name="connsiteX13" fmla="*/ 639997 w 1938047"/>
              <a:gd name="connsiteY13" fmla="*/ 890276 h 1094586"/>
              <a:gd name="connsiteX14" fmla="*/ 639997 w 1938047"/>
              <a:gd name="connsiteY14" fmla="*/ 1094586 h 109458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939150 w 1938047"/>
              <a:gd name="connsiteY4" fmla="*/ 481656 h 1094586"/>
              <a:gd name="connsiteX5" fmla="*/ 939150 w 1938047"/>
              <a:gd name="connsiteY5" fmla="*/ 481988 h 1094586"/>
              <a:gd name="connsiteX6" fmla="*/ 1938047 w 1938047"/>
              <a:gd name="connsiteY6" fmla="*/ 0 h 1094586"/>
              <a:gd name="connsiteX7" fmla="*/ 1483952 w 1938047"/>
              <a:gd name="connsiteY7" fmla="*/ 502310 h 1094586"/>
              <a:gd name="connsiteX8" fmla="*/ 939150 w 1938047"/>
              <a:gd name="connsiteY8" fmla="*/ 889713 h 1094586"/>
              <a:gd name="connsiteX9" fmla="*/ 939150 w 1938047"/>
              <a:gd name="connsiteY9" fmla="*/ 890276 h 1094586"/>
              <a:gd name="connsiteX10" fmla="*/ 933544 w 1938047"/>
              <a:gd name="connsiteY10" fmla="*/ 890276 h 1094586"/>
              <a:gd name="connsiteX11" fmla="*/ 931752 w 1938047"/>
              <a:gd name="connsiteY11" fmla="*/ 890456 h 1094586"/>
              <a:gd name="connsiteX12" fmla="*/ 931752 w 1938047"/>
              <a:gd name="connsiteY12" fmla="*/ 890276 h 1094586"/>
              <a:gd name="connsiteX13" fmla="*/ 639997 w 1938047"/>
              <a:gd name="connsiteY13" fmla="*/ 890276 h 1094586"/>
              <a:gd name="connsiteX14" fmla="*/ 639997 w 1938047"/>
              <a:gd name="connsiteY14" fmla="*/ 1094586 h 109458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939150 w 1938047"/>
              <a:gd name="connsiteY4" fmla="*/ 481656 h 1094586"/>
              <a:gd name="connsiteX5" fmla="*/ 939150 w 1938047"/>
              <a:gd name="connsiteY5" fmla="*/ 481988 h 1094586"/>
              <a:gd name="connsiteX6" fmla="*/ 1938047 w 1938047"/>
              <a:gd name="connsiteY6" fmla="*/ 0 h 1094586"/>
              <a:gd name="connsiteX7" fmla="*/ 1483952 w 1938047"/>
              <a:gd name="connsiteY7" fmla="*/ 502310 h 1094586"/>
              <a:gd name="connsiteX8" fmla="*/ 939150 w 1938047"/>
              <a:gd name="connsiteY8" fmla="*/ 889713 h 1094586"/>
              <a:gd name="connsiteX9" fmla="*/ 939150 w 1938047"/>
              <a:gd name="connsiteY9" fmla="*/ 890276 h 1094586"/>
              <a:gd name="connsiteX10" fmla="*/ 933544 w 1938047"/>
              <a:gd name="connsiteY10" fmla="*/ 890276 h 1094586"/>
              <a:gd name="connsiteX11" fmla="*/ 931752 w 1938047"/>
              <a:gd name="connsiteY11" fmla="*/ 890456 h 1094586"/>
              <a:gd name="connsiteX12" fmla="*/ 931752 w 1938047"/>
              <a:gd name="connsiteY12" fmla="*/ 890276 h 1094586"/>
              <a:gd name="connsiteX13" fmla="*/ 639997 w 1938047"/>
              <a:gd name="connsiteY13" fmla="*/ 890276 h 1094586"/>
              <a:gd name="connsiteX14" fmla="*/ 639997 w 1938047"/>
              <a:gd name="connsiteY14" fmla="*/ 1094586 h 109458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939150 w 1938047"/>
              <a:gd name="connsiteY4" fmla="*/ 481656 h 1094586"/>
              <a:gd name="connsiteX5" fmla="*/ 1938047 w 1938047"/>
              <a:gd name="connsiteY5" fmla="*/ 0 h 1094586"/>
              <a:gd name="connsiteX6" fmla="*/ 1483952 w 1938047"/>
              <a:gd name="connsiteY6" fmla="*/ 502310 h 1094586"/>
              <a:gd name="connsiteX7" fmla="*/ 939150 w 1938047"/>
              <a:gd name="connsiteY7" fmla="*/ 889713 h 1094586"/>
              <a:gd name="connsiteX8" fmla="*/ 939150 w 1938047"/>
              <a:gd name="connsiteY8" fmla="*/ 890276 h 1094586"/>
              <a:gd name="connsiteX9" fmla="*/ 933544 w 1938047"/>
              <a:gd name="connsiteY9" fmla="*/ 890276 h 1094586"/>
              <a:gd name="connsiteX10" fmla="*/ 931752 w 1938047"/>
              <a:gd name="connsiteY10" fmla="*/ 890456 h 1094586"/>
              <a:gd name="connsiteX11" fmla="*/ 931752 w 1938047"/>
              <a:gd name="connsiteY11" fmla="*/ 890276 h 1094586"/>
              <a:gd name="connsiteX12" fmla="*/ 639997 w 1938047"/>
              <a:gd name="connsiteY12" fmla="*/ 890276 h 1094586"/>
              <a:gd name="connsiteX13" fmla="*/ 639997 w 1938047"/>
              <a:gd name="connsiteY13" fmla="*/ 1094586 h 109458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1938047 w 1938047"/>
              <a:gd name="connsiteY4" fmla="*/ 0 h 1094586"/>
              <a:gd name="connsiteX5" fmla="*/ 1483952 w 1938047"/>
              <a:gd name="connsiteY5" fmla="*/ 502310 h 1094586"/>
              <a:gd name="connsiteX6" fmla="*/ 939150 w 1938047"/>
              <a:gd name="connsiteY6" fmla="*/ 889713 h 1094586"/>
              <a:gd name="connsiteX7" fmla="*/ 939150 w 1938047"/>
              <a:gd name="connsiteY7" fmla="*/ 890276 h 1094586"/>
              <a:gd name="connsiteX8" fmla="*/ 933544 w 1938047"/>
              <a:gd name="connsiteY8" fmla="*/ 890276 h 1094586"/>
              <a:gd name="connsiteX9" fmla="*/ 931752 w 1938047"/>
              <a:gd name="connsiteY9" fmla="*/ 890456 h 1094586"/>
              <a:gd name="connsiteX10" fmla="*/ 931752 w 1938047"/>
              <a:gd name="connsiteY10" fmla="*/ 890276 h 1094586"/>
              <a:gd name="connsiteX11" fmla="*/ 639997 w 1938047"/>
              <a:gd name="connsiteY11" fmla="*/ 890276 h 1094586"/>
              <a:gd name="connsiteX12" fmla="*/ 639997 w 1938047"/>
              <a:gd name="connsiteY12" fmla="*/ 1094586 h 109458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1938047 w 1938047"/>
              <a:gd name="connsiteY4" fmla="*/ 0 h 1094586"/>
              <a:gd name="connsiteX5" fmla="*/ 1483952 w 1938047"/>
              <a:gd name="connsiteY5" fmla="*/ 502310 h 1094586"/>
              <a:gd name="connsiteX6" fmla="*/ 939150 w 1938047"/>
              <a:gd name="connsiteY6" fmla="*/ 889713 h 1094586"/>
              <a:gd name="connsiteX7" fmla="*/ 939150 w 1938047"/>
              <a:gd name="connsiteY7" fmla="*/ 890276 h 1094586"/>
              <a:gd name="connsiteX8" fmla="*/ 933544 w 1938047"/>
              <a:gd name="connsiteY8" fmla="*/ 890276 h 1094586"/>
              <a:gd name="connsiteX9" fmla="*/ 931752 w 1938047"/>
              <a:gd name="connsiteY9" fmla="*/ 890456 h 1094586"/>
              <a:gd name="connsiteX10" fmla="*/ 931752 w 1938047"/>
              <a:gd name="connsiteY10" fmla="*/ 890276 h 1094586"/>
              <a:gd name="connsiteX11" fmla="*/ 639997 w 1938047"/>
              <a:gd name="connsiteY11" fmla="*/ 890276 h 1094586"/>
              <a:gd name="connsiteX12" fmla="*/ 639997 w 1938047"/>
              <a:gd name="connsiteY12" fmla="*/ 1094586 h 1094586"/>
              <a:gd name="connsiteX0" fmla="*/ 639997 w 1938047"/>
              <a:gd name="connsiteY0" fmla="*/ 1094586 h 1094586"/>
              <a:gd name="connsiteX1" fmla="*/ 0 w 1938047"/>
              <a:gd name="connsiteY1" fmla="*/ 685966 h 1094586"/>
              <a:gd name="connsiteX2" fmla="*/ 639997 w 1938047"/>
              <a:gd name="connsiteY2" fmla="*/ 277346 h 1094586"/>
              <a:gd name="connsiteX3" fmla="*/ 639997 w 1938047"/>
              <a:gd name="connsiteY3" fmla="*/ 481656 h 1094586"/>
              <a:gd name="connsiteX4" fmla="*/ 1938047 w 1938047"/>
              <a:gd name="connsiteY4" fmla="*/ 0 h 1094586"/>
              <a:gd name="connsiteX5" fmla="*/ 1483952 w 1938047"/>
              <a:gd name="connsiteY5" fmla="*/ 502310 h 1094586"/>
              <a:gd name="connsiteX6" fmla="*/ 939150 w 1938047"/>
              <a:gd name="connsiteY6" fmla="*/ 889713 h 1094586"/>
              <a:gd name="connsiteX7" fmla="*/ 939150 w 1938047"/>
              <a:gd name="connsiteY7" fmla="*/ 890276 h 1094586"/>
              <a:gd name="connsiteX8" fmla="*/ 933544 w 1938047"/>
              <a:gd name="connsiteY8" fmla="*/ 890276 h 1094586"/>
              <a:gd name="connsiteX9" fmla="*/ 931752 w 1938047"/>
              <a:gd name="connsiteY9" fmla="*/ 890456 h 1094586"/>
              <a:gd name="connsiteX10" fmla="*/ 931752 w 1938047"/>
              <a:gd name="connsiteY10" fmla="*/ 890276 h 1094586"/>
              <a:gd name="connsiteX11" fmla="*/ 639997 w 1938047"/>
              <a:gd name="connsiteY11" fmla="*/ 890276 h 1094586"/>
              <a:gd name="connsiteX12" fmla="*/ 639997 w 1938047"/>
              <a:gd name="connsiteY12" fmla="*/ 1094586 h 1094586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483952 w 1860409"/>
              <a:gd name="connsiteY5" fmla="*/ 683465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39227 w 1860409"/>
              <a:gd name="connsiteY5" fmla="*/ 717971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39227 w 1860409"/>
              <a:gd name="connsiteY5" fmla="*/ 717971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90986 w 1860409"/>
              <a:gd name="connsiteY5" fmla="*/ 700718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90986 w 1860409"/>
              <a:gd name="connsiteY5" fmla="*/ 700718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90986 w 1860409"/>
              <a:gd name="connsiteY5" fmla="*/ 700718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90986 w 1860409"/>
              <a:gd name="connsiteY5" fmla="*/ 700718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90986 w 1860409"/>
              <a:gd name="connsiteY5" fmla="*/ 700718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409"/>
              <a:gd name="connsiteY0" fmla="*/ 1275741 h 1275741"/>
              <a:gd name="connsiteX1" fmla="*/ 0 w 1860409"/>
              <a:gd name="connsiteY1" fmla="*/ 867121 h 1275741"/>
              <a:gd name="connsiteX2" fmla="*/ 639997 w 1860409"/>
              <a:gd name="connsiteY2" fmla="*/ 458501 h 1275741"/>
              <a:gd name="connsiteX3" fmla="*/ 639997 w 1860409"/>
              <a:gd name="connsiteY3" fmla="*/ 662811 h 1275741"/>
              <a:gd name="connsiteX4" fmla="*/ 1860409 w 1860409"/>
              <a:gd name="connsiteY4" fmla="*/ 0 h 1275741"/>
              <a:gd name="connsiteX5" fmla="*/ 1690986 w 1860409"/>
              <a:gd name="connsiteY5" fmla="*/ 700718 h 1275741"/>
              <a:gd name="connsiteX6" fmla="*/ 939150 w 1860409"/>
              <a:gd name="connsiteY6" fmla="*/ 1070868 h 1275741"/>
              <a:gd name="connsiteX7" fmla="*/ 939150 w 1860409"/>
              <a:gd name="connsiteY7" fmla="*/ 1071431 h 1275741"/>
              <a:gd name="connsiteX8" fmla="*/ 933544 w 1860409"/>
              <a:gd name="connsiteY8" fmla="*/ 1071431 h 1275741"/>
              <a:gd name="connsiteX9" fmla="*/ 931752 w 1860409"/>
              <a:gd name="connsiteY9" fmla="*/ 1071611 h 1275741"/>
              <a:gd name="connsiteX10" fmla="*/ 931752 w 1860409"/>
              <a:gd name="connsiteY10" fmla="*/ 1071431 h 1275741"/>
              <a:gd name="connsiteX11" fmla="*/ 639997 w 1860409"/>
              <a:gd name="connsiteY11" fmla="*/ 1071431 h 1275741"/>
              <a:gd name="connsiteX12" fmla="*/ 639997 w 1860409"/>
              <a:gd name="connsiteY12" fmla="*/ 1275741 h 1275741"/>
              <a:gd name="connsiteX0" fmla="*/ 639997 w 1860974"/>
              <a:gd name="connsiteY0" fmla="*/ 1275741 h 1275741"/>
              <a:gd name="connsiteX1" fmla="*/ 0 w 1860974"/>
              <a:gd name="connsiteY1" fmla="*/ 867121 h 1275741"/>
              <a:gd name="connsiteX2" fmla="*/ 639997 w 1860974"/>
              <a:gd name="connsiteY2" fmla="*/ 458501 h 1275741"/>
              <a:gd name="connsiteX3" fmla="*/ 639997 w 1860974"/>
              <a:gd name="connsiteY3" fmla="*/ 662811 h 1275741"/>
              <a:gd name="connsiteX4" fmla="*/ 1860409 w 1860974"/>
              <a:gd name="connsiteY4" fmla="*/ 0 h 1275741"/>
              <a:gd name="connsiteX5" fmla="*/ 1690986 w 1860974"/>
              <a:gd name="connsiteY5" fmla="*/ 700718 h 1275741"/>
              <a:gd name="connsiteX6" fmla="*/ 939150 w 1860974"/>
              <a:gd name="connsiteY6" fmla="*/ 1070868 h 1275741"/>
              <a:gd name="connsiteX7" fmla="*/ 939150 w 1860974"/>
              <a:gd name="connsiteY7" fmla="*/ 1071431 h 1275741"/>
              <a:gd name="connsiteX8" fmla="*/ 933544 w 1860974"/>
              <a:gd name="connsiteY8" fmla="*/ 1071431 h 1275741"/>
              <a:gd name="connsiteX9" fmla="*/ 931752 w 1860974"/>
              <a:gd name="connsiteY9" fmla="*/ 1071611 h 1275741"/>
              <a:gd name="connsiteX10" fmla="*/ 931752 w 1860974"/>
              <a:gd name="connsiteY10" fmla="*/ 1071431 h 1275741"/>
              <a:gd name="connsiteX11" fmla="*/ 639997 w 1860974"/>
              <a:gd name="connsiteY11" fmla="*/ 1071431 h 1275741"/>
              <a:gd name="connsiteX12" fmla="*/ 639997 w 1860974"/>
              <a:gd name="connsiteY12" fmla="*/ 1275741 h 1275741"/>
              <a:gd name="connsiteX0" fmla="*/ 657407 w 1878384"/>
              <a:gd name="connsiteY0" fmla="*/ 1275741 h 1275741"/>
              <a:gd name="connsiteX1" fmla="*/ 0 w 1878384"/>
              <a:gd name="connsiteY1" fmla="*/ 806186 h 1275741"/>
              <a:gd name="connsiteX2" fmla="*/ 657407 w 1878384"/>
              <a:gd name="connsiteY2" fmla="*/ 458501 h 1275741"/>
              <a:gd name="connsiteX3" fmla="*/ 657407 w 1878384"/>
              <a:gd name="connsiteY3" fmla="*/ 662811 h 1275741"/>
              <a:gd name="connsiteX4" fmla="*/ 1877819 w 1878384"/>
              <a:gd name="connsiteY4" fmla="*/ 0 h 1275741"/>
              <a:gd name="connsiteX5" fmla="*/ 1708396 w 1878384"/>
              <a:gd name="connsiteY5" fmla="*/ 700718 h 1275741"/>
              <a:gd name="connsiteX6" fmla="*/ 956560 w 1878384"/>
              <a:gd name="connsiteY6" fmla="*/ 1070868 h 1275741"/>
              <a:gd name="connsiteX7" fmla="*/ 956560 w 1878384"/>
              <a:gd name="connsiteY7" fmla="*/ 1071431 h 1275741"/>
              <a:gd name="connsiteX8" fmla="*/ 950954 w 1878384"/>
              <a:gd name="connsiteY8" fmla="*/ 1071431 h 1275741"/>
              <a:gd name="connsiteX9" fmla="*/ 949162 w 1878384"/>
              <a:gd name="connsiteY9" fmla="*/ 1071611 h 1275741"/>
              <a:gd name="connsiteX10" fmla="*/ 949162 w 1878384"/>
              <a:gd name="connsiteY10" fmla="*/ 1071431 h 1275741"/>
              <a:gd name="connsiteX11" fmla="*/ 657407 w 1878384"/>
              <a:gd name="connsiteY11" fmla="*/ 1071431 h 1275741"/>
              <a:gd name="connsiteX12" fmla="*/ 657407 w 1878384"/>
              <a:gd name="connsiteY12" fmla="*/ 1275741 h 1275741"/>
              <a:gd name="connsiteX0" fmla="*/ 648701 w 1869678"/>
              <a:gd name="connsiteY0" fmla="*/ 1275741 h 1275741"/>
              <a:gd name="connsiteX1" fmla="*/ 0 w 1869678"/>
              <a:gd name="connsiteY1" fmla="*/ 745250 h 1275741"/>
              <a:gd name="connsiteX2" fmla="*/ 648701 w 1869678"/>
              <a:gd name="connsiteY2" fmla="*/ 458501 h 1275741"/>
              <a:gd name="connsiteX3" fmla="*/ 648701 w 1869678"/>
              <a:gd name="connsiteY3" fmla="*/ 662811 h 1275741"/>
              <a:gd name="connsiteX4" fmla="*/ 1869113 w 1869678"/>
              <a:gd name="connsiteY4" fmla="*/ 0 h 1275741"/>
              <a:gd name="connsiteX5" fmla="*/ 1699690 w 1869678"/>
              <a:gd name="connsiteY5" fmla="*/ 700718 h 1275741"/>
              <a:gd name="connsiteX6" fmla="*/ 947854 w 1869678"/>
              <a:gd name="connsiteY6" fmla="*/ 1070868 h 1275741"/>
              <a:gd name="connsiteX7" fmla="*/ 947854 w 1869678"/>
              <a:gd name="connsiteY7" fmla="*/ 1071431 h 1275741"/>
              <a:gd name="connsiteX8" fmla="*/ 942248 w 1869678"/>
              <a:gd name="connsiteY8" fmla="*/ 1071431 h 1275741"/>
              <a:gd name="connsiteX9" fmla="*/ 940456 w 1869678"/>
              <a:gd name="connsiteY9" fmla="*/ 1071611 h 1275741"/>
              <a:gd name="connsiteX10" fmla="*/ 940456 w 1869678"/>
              <a:gd name="connsiteY10" fmla="*/ 1071431 h 1275741"/>
              <a:gd name="connsiteX11" fmla="*/ 648701 w 1869678"/>
              <a:gd name="connsiteY11" fmla="*/ 1071431 h 1275741"/>
              <a:gd name="connsiteX12" fmla="*/ 648701 w 1869678"/>
              <a:gd name="connsiteY12" fmla="*/ 1275741 h 1275741"/>
              <a:gd name="connsiteX0" fmla="*/ 648701 w 1869678"/>
              <a:gd name="connsiteY0" fmla="*/ 1275741 h 1275741"/>
              <a:gd name="connsiteX1" fmla="*/ 0 w 1869678"/>
              <a:gd name="connsiteY1" fmla="*/ 745250 h 1275741"/>
              <a:gd name="connsiteX2" fmla="*/ 692227 w 1869678"/>
              <a:gd name="connsiteY2" fmla="*/ 467206 h 1275741"/>
              <a:gd name="connsiteX3" fmla="*/ 648701 w 1869678"/>
              <a:gd name="connsiteY3" fmla="*/ 662811 h 1275741"/>
              <a:gd name="connsiteX4" fmla="*/ 1869113 w 1869678"/>
              <a:gd name="connsiteY4" fmla="*/ 0 h 1275741"/>
              <a:gd name="connsiteX5" fmla="*/ 1699690 w 1869678"/>
              <a:gd name="connsiteY5" fmla="*/ 700718 h 1275741"/>
              <a:gd name="connsiteX6" fmla="*/ 947854 w 1869678"/>
              <a:gd name="connsiteY6" fmla="*/ 1070868 h 1275741"/>
              <a:gd name="connsiteX7" fmla="*/ 947854 w 1869678"/>
              <a:gd name="connsiteY7" fmla="*/ 1071431 h 1275741"/>
              <a:gd name="connsiteX8" fmla="*/ 942248 w 1869678"/>
              <a:gd name="connsiteY8" fmla="*/ 1071431 h 1275741"/>
              <a:gd name="connsiteX9" fmla="*/ 940456 w 1869678"/>
              <a:gd name="connsiteY9" fmla="*/ 1071611 h 1275741"/>
              <a:gd name="connsiteX10" fmla="*/ 940456 w 1869678"/>
              <a:gd name="connsiteY10" fmla="*/ 1071431 h 1275741"/>
              <a:gd name="connsiteX11" fmla="*/ 648701 w 1869678"/>
              <a:gd name="connsiteY11" fmla="*/ 1071431 h 1275741"/>
              <a:gd name="connsiteX12" fmla="*/ 648701 w 1869678"/>
              <a:gd name="connsiteY12" fmla="*/ 1275741 h 1275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869678" h="1275741">
                <a:moveTo>
                  <a:pt x="648701" y="1275741"/>
                </a:moveTo>
                <a:lnTo>
                  <a:pt x="0" y="745250"/>
                </a:lnTo>
                <a:lnTo>
                  <a:pt x="692227" y="467206"/>
                </a:lnTo>
                <a:lnTo>
                  <a:pt x="648701" y="662811"/>
                </a:lnTo>
                <a:cubicBezTo>
                  <a:pt x="1357429" y="830061"/>
                  <a:pt x="1695222" y="453850"/>
                  <a:pt x="1869113" y="0"/>
                </a:cubicBezTo>
                <a:cubicBezTo>
                  <a:pt x="1874698" y="336676"/>
                  <a:pt x="1840380" y="504920"/>
                  <a:pt x="1699690" y="700718"/>
                </a:cubicBezTo>
                <a:cubicBezTo>
                  <a:pt x="1447095" y="992167"/>
                  <a:pt x="1195243" y="1067624"/>
                  <a:pt x="947854" y="1070868"/>
                </a:cubicBezTo>
                <a:lnTo>
                  <a:pt x="947854" y="1071431"/>
                </a:lnTo>
                <a:lnTo>
                  <a:pt x="942248" y="1071431"/>
                </a:lnTo>
                <a:cubicBezTo>
                  <a:pt x="941652" y="1071610"/>
                  <a:pt x="941054" y="1071611"/>
                  <a:pt x="940456" y="1071611"/>
                </a:cubicBezTo>
                <a:lnTo>
                  <a:pt x="940456" y="1071431"/>
                </a:lnTo>
                <a:lnTo>
                  <a:pt x="648701" y="1071431"/>
                </a:lnTo>
                <a:lnTo>
                  <a:pt x="648701" y="1275741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9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647665" y="3361324"/>
            <a:ext cx="2890816" cy="1677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white"/>
                </a:solidFill>
              </a:rPr>
              <a:t>Доп. инструмент выполнения целей Нац. проекта без увеличения финансирования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white"/>
                </a:solidFill>
              </a:rPr>
              <a:t>Снижение фин. нагрузки на содержание объектов культуры</a:t>
            </a:r>
          </a:p>
        </p:txBody>
      </p:sp>
      <p:grpSp>
        <p:nvGrpSpPr>
          <p:cNvPr id="31" name="Группа 30"/>
          <p:cNvGrpSpPr/>
          <p:nvPr/>
        </p:nvGrpSpPr>
        <p:grpSpPr>
          <a:xfrm>
            <a:off x="8104603" y="1208081"/>
            <a:ext cx="3967458" cy="1127873"/>
            <a:chOff x="4086424" y="1229732"/>
            <a:chExt cx="3967458" cy="1127873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EA21B930-3EF3-4908-AD73-088D6D785153}"/>
                </a:ext>
              </a:extLst>
            </p:cNvPr>
            <p:cNvSpPr txBox="1"/>
            <p:nvPr/>
          </p:nvSpPr>
          <p:spPr>
            <a:xfrm>
              <a:off x="4086424" y="1229732"/>
              <a:ext cx="1134358" cy="11079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ko-KR" sz="66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Arial Unicode MS"/>
                  <a:cs typeface="Arial" pitchFamily="34" charset="0"/>
                </a:rPr>
                <a:t>3</a:t>
              </a:r>
              <a:endParaRPr kumimoji="0" lang="ko-KR" altLang="en-US" sz="66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cs typeface="Arial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13B43B9A-5F8A-4F68-82BF-029331E4F538}"/>
                </a:ext>
              </a:extLst>
            </p:cNvPr>
            <p:cNvSpPr txBox="1"/>
            <p:nvPr/>
          </p:nvSpPr>
          <p:spPr>
            <a:xfrm>
              <a:off x="4928272" y="1403498"/>
              <a:ext cx="3125610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ko-KR" sz="2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entury Gothic" panose="020B0502020202020204" pitchFamily="34" charset="0"/>
                  <a:ea typeface="Arial Unicode MS"/>
                  <a:cs typeface="Arial" pitchFamily="34" charset="0"/>
                </a:rPr>
                <a:t>ЧАСТНЫЕ ИНВЕСТОРЫ</a:t>
              </a:r>
              <a:endParaRPr kumimoji="0" lang="ko-KR" alt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entury Gothic" panose="020B0502020202020204" pitchFamily="34" charset="0"/>
                <a:cs typeface="Arial" pitchFamily="34" charset="0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137599C0-5A9B-483A-8F18-2E293EFC2B38}"/>
                </a:ext>
              </a:extLst>
            </p:cNvPr>
            <p:cNvSpPr txBox="1"/>
            <p:nvPr/>
          </p:nvSpPr>
          <p:spPr>
            <a:xfrm>
              <a:off x="4965761" y="1870992"/>
              <a:ext cx="278537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2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cs typeface="Arial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/>
                <a:cs typeface="Arial" pitchFamily="34" charset="0"/>
              </a:endParaRPr>
            </a:p>
          </p:txBody>
        </p:sp>
      </p:grpSp>
      <p:sp>
        <p:nvSpPr>
          <p:cNvPr id="6" name="Прямоугольник 5"/>
          <p:cNvSpPr/>
          <p:nvPr/>
        </p:nvSpPr>
        <p:spPr>
          <a:xfrm>
            <a:off x="9041285" y="2316077"/>
            <a:ext cx="2740789" cy="19697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white"/>
                </a:solidFill>
              </a:rPr>
              <a:t>Создание доп. возможностей для инвестирования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white"/>
                </a:solidFill>
              </a:rPr>
              <a:t>Получение экономической выгоды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white"/>
                </a:solidFill>
              </a:rPr>
              <a:t>Повышение статуса за счет сотрудничества с государством</a:t>
            </a:r>
          </a:p>
        </p:txBody>
      </p:sp>
      <p:grpSp>
        <p:nvGrpSpPr>
          <p:cNvPr id="35" name="Группа 34"/>
          <p:cNvGrpSpPr/>
          <p:nvPr/>
        </p:nvGrpSpPr>
        <p:grpSpPr>
          <a:xfrm>
            <a:off x="7255232" y="4456373"/>
            <a:ext cx="3967458" cy="1127873"/>
            <a:chOff x="4086424" y="1229732"/>
            <a:chExt cx="3967458" cy="1127873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EA21B930-3EF3-4908-AD73-088D6D785153}"/>
                </a:ext>
              </a:extLst>
            </p:cNvPr>
            <p:cNvSpPr txBox="1"/>
            <p:nvPr/>
          </p:nvSpPr>
          <p:spPr>
            <a:xfrm>
              <a:off x="4086424" y="1229732"/>
              <a:ext cx="1134358" cy="11079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ko-KR" sz="66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  <a:ea typeface="Arial Unicode MS"/>
                  <a:cs typeface="Arial" pitchFamily="34" charset="0"/>
                </a:rPr>
                <a:t>4</a:t>
              </a:r>
              <a:endParaRPr kumimoji="0" lang="ko-KR" altLang="en-US" sz="66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cs typeface="Arial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13B43B9A-5F8A-4F68-82BF-029331E4F538}"/>
                </a:ext>
              </a:extLst>
            </p:cNvPr>
            <p:cNvSpPr txBox="1"/>
            <p:nvPr/>
          </p:nvSpPr>
          <p:spPr>
            <a:xfrm>
              <a:off x="4928272" y="1403498"/>
              <a:ext cx="3125610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ko-KR" sz="2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Century Gothic" panose="020B0502020202020204" pitchFamily="34" charset="0"/>
                  <a:ea typeface="Arial Unicode MS"/>
                  <a:cs typeface="Arial" pitchFamily="34" charset="0"/>
                </a:rPr>
                <a:t>РАБОТНИКИ КУЛЬТУРЫ</a:t>
              </a:r>
              <a:endParaRPr kumimoji="0" lang="ko-KR" alt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entury Gothic" panose="020B0502020202020204" pitchFamily="34" charset="0"/>
                <a:cs typeface="Arial" pitchFamily="34" charset="0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137599C0-5A9B-483A-8F18-2E293EFC2B38}"/>
                </a:ext>
              </a:extLst>
            </p:cNvPr>
            <p:cNvSpPr txBox="1"/>
            <p:nvPr/>
          </p:nvSpPr>
          <p:spPr>
            <a:xfrm>
              <a:off x="4965761" y="1870992"/>
              <a:ext cx="278537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2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cs typeface="Arial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/>
                <a:cs typeface="Arial" pitchFamily="34" charset="0"/>
              </a:endParaRPr>
            </a:p>
          </p:txBody>
        </p:sp>
      </p:grpSp>
      <p:sp>
        <p:nvSpPr>
          <p:cNvPr id="8" name="Прямоугольник 7"/>
          <p:cNvSpPr/>
          <p:nvPr/>
        </p:nvSpPr>
        <p:spPr>
          <a:xfrm>
            <a:off x="5673310" y="5625729"/>
            <a:ext cx="609600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white"/>
                </a:solidFill>
              </a:rPr>
              <a:t>Создание условий для развития молодых талантов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white"/>
                </a:solidFill>
              </a:rPr>
              <a:t>Повышение престижа и условий труда сотрудников культуры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white"/>
                </a:solidFill>
              </a:rPr>
              <a:t>Возможность развития традиционных народных промыслов</a:t>
            </a:r>
          </a:p>
        </p:txBody>
      </p:sp>
      <p:sp>
        <p:nvSpPr>
          <p:cNvPr id="40" name="Овал 39"/>
          <p:cNvSpPr/>
          <p:nvPr/>
        </p:nvSpPr>
        <p:spPr>
          <a:xfrm>
            <a:off x="7756141" y="3585287"/>
            <a:ext cx="589091" cy="589091"/>
          </a:xfrm>
          <a:prstGeom prst="ellipse">
            <a:avLst/>
          </a:prstGeom>
          <a:solidFill>
            <a:schemeClr val="tx1">
              <a:lumMod val="65000"/>
              <a:lumOff val="35000"/>
              <a:alpha val="9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270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4841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0" y="2284655"/>
            <a:ext cx="12192000" cy="1370809"/>
          </a:xfrm>
          <a:prstGeom prst="rect">
            <a:avLst/>
          </a:prstGeom>
          <a:gradFill flip="none" rotWithShape="1">
            <a:gsLst>
              <a:gs pos="0">
                <a:srgbClr val="1BCCB3">
                  <a:shade val="30000"/>
                  <a:satMod val="115000"/>
                </a:srgbClr>
              </a:gs>
              <a:gs pos="50000">
                <a:srgbClr val="1BCCB3">
                  <a:shade val="67500"/>
                  <a:satMod val="115000"/>
                </a:srgbClr>
              </a:gs>
              <a:gs pos="100000">
                <a:srgbClr val="1BCCB3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1B9649A-8A7A-434E-A9A5-447A515964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5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B1B9649A-8A7A-434E-A9A5-447A51596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992FC779-CBCA-1C4F-ABBF-572EB2195FA8}"/>
              </a:ext>
            </a:extLst>
          </p:cNvPr>
          <p:cNvSpPr/>
          <p:nvPr/>
        </p:nvSpPr>
        <p:spPr>
          <a:xfrm>
            <a:off x="280084" y="451586"/>
            <a:ext cx="5859581" cy="593605"/>
          </a:xfrm>
          <a:prstGeom prst="rect">
            <a:avLst/>
          </a:prstGeom>
        </p:spPr>
        <p:txBody>
          <a:bodyPr wrap="square" lIns="121485" tIns="60760" rIns="121485" bIns="607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КОМАНДА ПРОЕКТА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1BCCB3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03" b="3803"/>
          <a:stretch>
            <a:fillRect/>
          </a:stretch>
        </p:blipFill>
        <p:spPr>
          <a:xfrm>
            <a:off x="565368" y="1814097"/>
            <a:ext cx="2304000" cy="2304000"/>
          </a:xfrm>
          <a:prstGeom prst="ellipse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72" b="9572"/>
          <a:stretch>
            <a:fillRect/>
          </a:stretch>
        </p:blipFill>
        <p:spPr>
          <a:xfrm>
            <a:off x="6333044" y="1814097"/>
            <a:ext cx="2304000" cy="2304000"/>
          </a:xfrm>
          <a:prstGeom prst="ellipse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9B9500B9-9375-4D9E-932F-C0EA3C43A056}"/>
              </a:ext>
            </a:extLst>
          </p:cNvPr>
          <p:cNvSpPr txBox="1"/>
          <p:nvPr/>
        </p:nvSpPr>
        <p:spPr>
          <a:xfrm>
            <a:off x="6656147" y="4340049"/>
            <a:ext cx="18724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41"/>
            <a:r>
              <a:rPr lang="ru-RU" altLang="ko-KR" sz="2000" b="1" dirty="0">
                <a:solidFill>
                  <a:srgbClr val="1BCCB3"/>
                </a:solidFill>
                <a:cs typeface="Arial" pitchFamily="34" charset="0"/>
              </a:rPr>
              <a:t>Андрей Князев</a:t>
            </a:r>
            <a:endParaRPr lang="ko-KR" altLang="en-US" sz="2000" b="1" dirty="0">
              <a:solidFill>
                <a:srgbClr val="1BCCB3"/>
              </a:solidFill>
              <a:cs typeface="Arial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F00E03F-40C2-455C-B4A0-C5AD75A8DF1D}"/>
              </a:ext>
            </a:extLst>
          </p:cNvPr>
          <p:cNvSpPr txBox="1"/>
          <p:nvPr/>
        </p:nvSpPr>
        <p:spPr>
          <a:xfrm>
            <a:off x="604597" y="4340049"/>
            <a:ext cx="238682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41"/>
            <a:r>
              <a:rPr lang="ru-RU" altLang="ko-KR" sz="2000" b="1" dirty="0">
                <a:solidFill>
                  <a:srgbClr val="1BCCB3"/>
                </a:solidFill>
                <a:cs typeface="Arial" pitchFamily="34" charset="0"/>
              </a:rPr>
              <a:t>Жанна Алексеева</a:t>
            </a:r>
            <a:endParaRPr lang="ko-KR" altLang="en-US" sz="2000" b="1" dirty="0">
              <a:solidFill>
                <a:srgbClr val="1BCCB3"/>
              </a:solidFill>
              <a:cs typeface="Arial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7344054-11FC-4732-BC79-B94BC808E71B}"/>
              </a:ext>
            </a:extLst>
          </p:cNvPr>
          <p:cNvSpPr txBox="1"/>
          <p:nvPr/>
        </p:nvSpPr>
        <p:spPr>
          <a:xfrm>
            <a:off x="3639490" y="4340049"/>
            <a:ext cx="19343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41"/>
            <a:r>
              <a:rPr lang="ru-RU" altLang="ko-KR" sz="2000" b="1" dirty="0">
                <a:solidFill>
                  <a:srgbClr val="1BCCB3"/>
                </a:solidFill>
                <a:cs typeface="Arial" pitchFamily="34" charset="0"/>
              </a:rPr>
              <a:t>Ольга Корниенко</a:t>
            </a:r>
            <a:endParaRPr lang="ko-KR" altLang="en-US" sz="2000" b="1" dirty="0">
              <a:solidFill>
                <a:srgbClr val="1BCCB3"/>
              </a:solidFill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32422" y="5047935"/>
            <a:ext cx="221151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solidFill>
                  <a:schemeClr val="bg1">
                    <a:lumMod val="75000"/>
                  </a:schemeClr>
                </a:solidFill>
              </a:rPr>
              <a:t>Минкультуры России</a:t>
            </a:r>
            <a:endParaRPr lang="ru-RU" sz="16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789286" y="5034395"/>
            <a:ext cx="166584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solidFill>
                  <a:schemeClr val="bg1">
                    <a:lumMod val="75000"/>
                  </a:schemeClr>
                </a:solidFill>
              </a:rPr>
              <a:t>Минстрой России</a:t>
            </a:r>
            <a:endParaRPr lang="ru-RU" sz="16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806073" y="5034395"/>
            <a:ext cx="15488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>
                <a:solidFill>
                  <a:schemeClr val="bg1">
                    <a:lumMod val="75000"/>
                  </a:schemeClr>
                </a:solidFill>
              </a:rPr>
              <a:t>Группа </a:t>
            </a:r>
            <a:r>
              <a:rPr lang="ru-RU" sz="1600" dirty="0" err="1" smtClean="0">
                <a:solidFill>
                  <a:schemeClr val="bg1">
                    <a:lumMod val="75000"/>
                  </a:schemeClr>
                </a:solidFill>
              </a:rPr>
              <a:t>Сбер</a:t>
            </a:r>
            <a:endParaRPr lang="ru-RU" sz="16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B9500B9-9375-4D9E-932F-C0EA3C43A056}"/>
              </a:ext>
            </a:extLst>
          </p:cNvPr>
          <p:cNvSpPr txBox="1"/>
          <p:nvPr/>
        </p:nvSpPr>
        <p:spPr>
          <a:xfrm>
            <a:off x="9519645" y="4340049"/>
            <a:ext cx="18724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41"/>
            <a:r>
              <a:rPr lang="ru-RU" altLang="ko-KR" sz="2000" b="1" dirty="0" smtClean="0">
                <a:solidFill>
                  <a:srgbClr val="1BCCB3"/>
                </a:solidFill>
                <a:cs typeface="Arial" pitchFamily="34" charset="0"/>
              </a:rPr>
              <a:t>Виктория  Гурьянова</a:t>
            </a:r>
            <a:endParaRPr lang="ko-KR" altLang="en-US" sz="2000" b="1" dirty="0">
              <a:solidFill>
                <a:srgbClr val="1BCCB3"/>
              </a:solidFill>
              <a:cs typeface="Arial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9483938" y="5055681"/>
            <a:ext cx="197064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solidFill>
                  <a:schemeClr val="bg1">
                    <a:lumMod val="75000"/>
                  </a:schemeClr>
                </a:solidFill>
              </a:rPr>
              <a:t>Правительство</a:t>
            </a:r>
          </a:p>
          <a:p>
            <a:pPr algn="ctr"/>
            <a:r>
              <a:rPr lang="ru-RU" sz="1600" dirty="0" smtClean="0">
                <a:solidFill>
                  <a:schemeClr val="bg1">
                    <a:lumMod val="75000"/>
                  </a:schemeClr>
                </a:solidFill>
              </a:rPr>
              <a:t>Астраханской области</a:t>
            </a:r>
            <a:endParaRPr lang="ru-RU" sz="1600" dirty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8"/>
          <a:srcRect l="-206" t="-1381" r="206" b="1381"/>
          <a:stretch/>
        </p:blipFill>
        <p:spPr>
          <a:xfrm>
            <a:off x="3434736" y="1814097"/>
            <a:ext cx="2295455" cy="2304000"/>
          </a:xfrm>
          <a:prstGeom prst="ellipse">
            <a:avLst/>
          </a:prstGeom>
          <a:ln w="3175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9"/>
          <a:srcRect l="-1" r="-471" b="8652"/>
          <a:stretch/>
        </p:blipFill>
        <p:spPr>
          <a:xfrm>
            <a:off x="9399410" y="1722268"/>
            <a:ext cx="2055176" cy="2395829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359949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1B9649A-8A7A-434E-A9A5-447A515964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92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B1B9649A-8A7A-434E-A9A5-447A51596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992FC779-CBCA-1C4F-ABBF-572EB2195FA8}"/>
              </a:ext>
            </a:extLst>
          </p:cNvPr>
          <p:cNvSpPr/>
          <p:nvPr/>
        </p:nvSpPr>
        <p:spPr>
          <a:xfrm>
            <a:off x="4254842" y="3132197"/>
            <a:ext cx="3682316" cy="593605"/>
          </a:xfrm>
          <a:prstGeom prst="rect">
            <a:avLst/>
          </a:prstGeom>
        </p:spPr>
        <p:txBody>
          <a:bodyPr wrap="square" lIns="121485" tIns="60760" rIns="121485" bIns="607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ПРИЛОЖЕНИЯ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1BCCB3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3904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67128" y="226031"/>
            <a:ext cx="977072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1200" cap="none" spc="0" normalizeH="0" baseline="0" noProof="0" dirty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Мероприятия для реализации задач проекта</a:t>
            </a:r>
          </a:p>
        </p:txBody>
      </p:sp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EBA8CA5B-60E6-E943-8E79-862BEB4D5E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6032699"/>
              </p:ext>
            </p:extLst>
          </p:nvPr>
        </p:nvGraphicFramePr>
        <p:xfrm>
          <a:off x="472467" y="887416"/>
          <a:ext cx="10931847" cy="58262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7120">
                  <a:extLst>
                    <a:ext uri="{9D8B030D-6E8A-4147-A177-3AD203B41FA5}">
                      <a16:colId xmlns:a16="http://schemas.microsoft.com/office/drawing/2014/main" val="1742939825"/>
                    </a:ext>
                  </a:extLst>
                </a:gridCol>
                <a:gridCol w="2157120">
                  <a:extLst>
                    <a:ext uri="{9D8B030D-6E8A-4147-A177-3AD203B41FA5}">
                      <a16:colId xmlns:a16="http://schemas.microsoft.com/office/drawing/2014/main" val="2533780889"/>
                    </a:ext>
                  </a:extLst>
                </a:gridCol>
                <a:gridCol w="2157120">
                  <a:extLst>
                    <a:ext uri="{9D8B030D-6E8A-4147-A177-3AD203B41FA5}">
                      <a16:colId xmlns:a16="http://schemas.microsoft.com/office/drawing/2014/main" val="947626467"/>
                    </a:ext>
                  </a:extLst>
                </a:gridCol>
                <a:gridCol w="2157120">
                  <a:extLst>
                    <a:ext uri="{9D8B030D-6E8A-4147-A177-3AD203B41FA5}">
                      <a16:colId xmlns:a16="http://schemas.microsoft.com/office/drawing/2014/main" val="242579203"/>
                    </a:ext>
                  </a:extLst>
                </a:gridCol>
                <a:gridCol w="2303367">
                  <a:extLst>
                    <a:ext uri="{9D8B030D-6E8A-4147-A177-3AD203B41FA5}">
                      <a16:colId xmlns:a16="http://schemas.microsoft.com/office/drawing/2014/main" val="2451289135"/>
                    </a:ext>
                  </a:extLst>
                </a:gridCol>
              </a:tblGrid>
              <a:tr h="80547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оздание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государственного оператора частных инвестиций в культуру</a:t>
                      </a:r>
                      <a:endParaRPr kumimoji="0" lang="ru-RU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CCB3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оздание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единого портала объектов культуры для потенциальных инвесторов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CCB3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оздание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фондов для участия населения в поддержке отдельных объектов культуры </a:t>
                      </a:r>
                      <a:endParaRPr kumimoji="0" lang="ru-RU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CCB3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/>
                      </a:pPr>
                      <a:r>
                        <a:rPr kumimoji="0" lang="ru-RU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Участие </a:t>
                      </a:r>
                    </a:p>
                    <a:p>
                      <a:pPr lvl="0" algn="ctr">
                        <a:defRPr/>
                      </a:pPr>
                      <a:r>
                        <a:rPr kumimoji="0" lang="ru-RU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государства и механизмы помощи инвесторам </a:t>
                      </a:r>
                      <a:endParaRPr kumimoji="0" lang="ru-RU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CCB3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ключение объектов культуры в программы лояльности крупнейших банков за счет исключения механизма НДС во взаиморасчетах банков и объектов культуры</a:t>
                      </a:r>
                      <a:endParaRPr kumimoji="0" lang="ru-RU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865841"/>
                  </a:ext>
                </a:extLst>
              </a:tr>
              <a:tr h="14630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вентаризация существующих органов и агентств, участвующих в сопровождении текущих программ инвестирования частного капитала и создания ГЧП (включая Минэкономразвития России); </a:t>
                      </a:r>
                      <a:r>
                        <a:rPr kumimoji="0" lang="ru-RU" sz="9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kumimoji="0" lang="ru-RU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1" indent="0"/>
                      <a:r>
                        <a:rPr lang="ru-RU" sz="9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ыбор существующей федеральной платформы для реализации витрины и создание соответствующей ИТ-архитектуры (предлагаемый вариант – использование действующего портала Культура.РФ); </a:t>
                      </a:r>
                      <a:endParaRPr lang="ru-RU" sz="90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ведено детальное изучение механизма инвестирования и поддержки отдельных объектов культуры физическими лицами в европейских странах</a:t>
                      </a:r>
                      <a:endParaRPr lang="ru-RU" sz="900" b="0" i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1" indent="0"/>
                      <a:r>
                        <a:rPr lang="ru-RU" sz="9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вентаризация текущих механизмов реализации ГЧП</a:t>
                      </a:r>
                      <a:r>
                        <a:rPr lang="ru-RU" sz="900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и</a:t>
                      </a:r>
                      <a:r>
                        <a:rPr lang="ru-RU" sz="9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определение целевых механизмов. Анализ возможного участия государства в реконструкции</a:t>
                      </a:r>
                      <a:r>
                        <a:rPr lang="ru-RU" sz="900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бъектов культурного наследия за счет наличия обязательств по целевому использованию близлежащих территорий и МГД;   </a:t>
                      </a:r>
                      <a:r>
                        <a:rPr lang="ru-RU" sz="105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ru-RU" sz="1800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1" indent="0"/>
                      <a:r>
                        <a:rPr lang="ru-RU" sz="9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дтверждение оценки финансового эффекта от реализации проекта и внесение изменений в нормативно-правовые акты с целью исключения НДС из взаиморасчетов объектов культуры и операторов программ лояльности крупнейших кредитных организаций и/или иных компаний (например, телеком);  </a:t>
                      </a:r>
                      <a:endParaRPr lang="ru-RU" sz="90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0990520"/>
                  </a:ext>
                </a:extLst>
              </a:tr>
              <a:tr h="829323">
                <a:tc rowSpan="2">
                  <a:txBody>
                    <a:bodyPr/>
                    <a:lstStyle/>
                    <a:p>
                      <a:pPr algn="l"/>
                      <a:r>
                        <a:rPr lang="ru-RU" sz="9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пределена целевая архитектура формирования соответствующего органа. Приоритет – создание специализированного агентства на базе Минкультуры России с наделением его соответствующими полномочиями</a:t>
                      </a:r>
                      <a:endParaRPr lang="ru-RU" sz="900" b="0" i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азработка единых стандартов представления объектов культуры на портале, включая информацию для потенциальных инвесторов, а также населения</a:t>
                      </a:r>
                      <a:endParaRPr lang="ru-RU" sz="900" b="0" i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algn="l"/>
                      <a:r>
                        <a:rPr lang="ru-RU" sz="9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вершенствование нормативно-правовой базы, позволяющей существенно упростить возможность инвестирования и поддержки объектов культуры ФЛ, а также повысить привлекательность данной деятельности. При необходимости, создание общефедерального или региональных фондов (под каждый значимый объект культуры) для привлечения средств граждан</a:t>
                      </a:r>
                      <a:endParaRPr lang="ru-RU" sz="900" b="0" i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азработка упрощенного порядка изменения статуса объекта культуры для целей приспособления под современные нужды</a:t>
                      </a:r>
                      <a:endParaRPr lang="ru-RU" sz="1000" b="0" i="0" dirty="0" smtClean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ыбор 1-3х партнеров и проведение пилотного проекта</a:t>
                      </a:r>
                      <a:endParaRPr lang="ru-RU" sz="900" b="0" i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0391709"/>
                  </a:ext>
                </a:extLst>
              </a:tr>
              <a:tr h="732248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i="0" dirty="0">
                        <a:solidFill>
                          <a:schemeClr val="bg1">
                            <a:lumMod val="95000"/>
                          </a:schemeClr>
                        </a:solidFill>
                        <a:latin typeface="Century Gothic" panose="020B050202020202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пределение органа, ответственного за техническую поддержку, актуализацию информации</a:t>
                      </a:r>
                      <a:endParaRPr lang="ru-RU" sz="900" b="0" i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i="0" dirty="0">
                        <a:solidFill>
                          <a:schemeClr val="bg1">
                            <a:lumMod val="95000"/>
                          </a:schemeClr>
                        </a:solidFill>
                        <a:latin typeface="Century Gothic" panose="020B050202020202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азработка типовых моделей окупаемости проектов (вкл. программы финансирования ГЧП/концессий со стороны кредитных организаций)</a:t>
                      </a:r>
                      <a:endParaRPr lang="ru-RU" sz="900" b="0" i="0" dirty="0" smtClean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азработка программы коммуникаций (совместно с партнерами) и доведение информации до населения и объектов культуры</a:t>
                      </a:r>
                      <a:endParaRPr lang="ru-RU" sz="900" b="0" i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2646314"/>
                  </a:ext>
                </a:extLst>
              </a:tr>
              <a:tr h="269049">
                <a:tc rowSpan="4">
                  <a:txBody>
                    <a:bodyPr/>
                    <a:lstStyle/>
                    <a:p>
                      <a:r>
                        <a:rPr lang="ru-RU" sz="9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бор персонала и создание единых правил и инструкций с целью максимального привлечения частных инвесторов в объекты культуры</a:t>
                      </a:r>
                      <a:endParaRPr lang="ru-RU" sz="900" b="0" i="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работка существующего ИТ-решения</a:t>
                      </a:r>
                      <a:endParaRPr lang="en-US" sz="900" b="0" i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sz="1100" b="0" i="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0" i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sz="900" b="0" i="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1705400"/>
                  </a:ext>
                </a:extLst>
              </a:tr>
              <a:tr h="13414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азработка концепции и программы продвижения идей </a:t>
                      </a:r>
                      <a:r>
                        <a:rPr lang="ru-RU" sz="900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раудфандинга</a:t>
                      </a:r>
                      <a:r>
                        <a:rPr lang="ru-RU" sz="9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в объекты культуры</a:t>
                      </a:r>
                      <a:endParaRPr lang="ru-RU" sz="900" b="0" i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ыбор пилотных регионов для проведения апробации предлагаемых изменений и инициатив</a:t>
                      </a:r>
                      <a:endParaRPr lang="ru-RU" sz="900" b="0" i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r>
                        <a:rPr lang="ru-RU" sz="9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ведение пилотного проекта, подведение итогов, принятие решения о тираже</a:t>
                      </a:r>
                      <a:endParaRPr lang="ru-RU" sz="900" b="0" i="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0232522"/>
                  </a:ext>
                </a:extLst>
              </a:tr>
              <a:tr h="378432">
                <a:tc vMerge="1">
                  <a:txBody>
                    <a:bodyPr/>
                    <a:lstStyle/>
                    <a:p>
                      <a:endParaRPr lang="ru-RU" sz="1100" b="0" i="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lvl="1" indent="0"/>
                      <a:r>
                        <a:rPr lang="ru-RU" sz="9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азработка программы информирования/маркетинга для целевых пользователей и максимального широко освещения возможностей витрины для всех слоев населения и частного капитала</a:t>
                      </a:r>
                      <a:endParaRPr lang="ru-RU" sz="90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sz="1100" b="0" i="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0" i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sz="1100" b="0" i="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2636724"/>
                  </a:ext>
                </a:extLst>
              </a:tr>
              <a:tr h="463654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пуск пилотного проекта, подведение итогов, принятие решения о тираже</a:t>
                      </a:r>
                      <a:endParaRPr lang="ru-RU" sz="900" b="0" i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ведение пилота, подведение итогов, принятие решения о тираже</a:t>
                      </a:r>
                      <a:endParaRPr lang="ru-RU" sz="900" b="0" i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3178446"/>
                  </a:ext>
                </a:extLst>
              </a:tr>
            </a:tbl>
          </a:graphicData>
        </a:graphic>
      </p:graphicFrame>
      <p:sp>
        <p:nvSpPr>
          <p:cNvPr id="4" name="Овал 3"/>
          <p:cNvSpPr/>
          <p:nvPr/>
        </p:nvSpPr>
        <p:spPr>
          <a:xfrm>
            <a:off x="565345" y="923848"/>
            <a:ext cx="221295" cy="221295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</a:t>
            </a:r>
          </a:p>
        </p:txBody>
      </p:sp>
      <p:sp>
        <p:nvSpPr>
          <p:cNvPr id="5" name="Овал 4"/>
          <p:cNvSpPr/>
          <p:nvPr/>
        </p:nvSpPr>
        <p:spPr>
          <a:xfrm>
            <a:off x="2700657" y="923848"/>
            <a:ext cx="221295" cy="221295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2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4846243" y="934121"/>
            <a:ext cx="221295" cy="221295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schemeClr val="bg1"/>
                </a:solidFill>
                <a:latin typeface="Century Gothic" panose="020B0502020202020204"/>
              </a:rPr>
              <a:t>3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7027154" y="933224"/>
            <a:ext cx="221295" cy="221295"/>
          </a:xfrm>
          <a:prstGeom prst="ellipse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4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8" name="Выноска 1 (с границей) 7"/>
          <p:cNvSpPr/>
          <p:nvPr/>
        </p:nvSpPr>
        <p:spPr>
          <a:xfrm>
            <a:off x="10171416" y="226031"/>
            <a:ext cx="1839074" cy="553998"/>
          </a:xfrm>
          <a:prstGeom prst="accentCallout1">
            <a:avLst>
              <a:gd name="adj1" fmla="val 18750"/>
              <a:gd name="adj2" fmla="val -8333"/>
              <a:gd name="adj3" fmla="val 111659"/>
              <a:gd name="adj4" fmla="val -34422"/>
            </a:avLst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i="1" dirty="0" smtClean="0">
                <a:solidFill>
                  <a:schemeClr val="tx1"/>
                </a:solidFill>
              </a:rPr>
              <a:t>Задача вне проекта и может решена в рамках операционной деятельности</a:t>
            </a:r>
            <a:endParaRPr lang="ru-RU" sz="9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8676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Диаграмма 26"/>
          <p:cNvGraphicFramePr/>
          <p:nvPr>
            <p:extLst>
              <p:ext uri="{D42A27DB-BD31-4B8C-83A1-F6EECF244321}">
                <p14:modId xmlns:p14="http://schemas.microsoft.com/office/powerpoint/2010/main" val="4284649629"/>
              </p:ext>
            </p:extLst>
          </p:nvPr>
        </p:nvGraphicFramePr>
        <p:xfrm>
          <a:off x="-1139271" y="4184625"/>
          <a:ext cx="6971786" cy="39617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1B9649A-8A7A-434E-A9A5-447A515964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8" name="Слайд think-cell" r:id="rId5" imgW="425" imgH="424" progId="TCLayout.ActiveDocument.1">
                  <p:embed/>
                </p:oleObj>
              </mc:Choice>
              <mc:Fallback>
                <p:oleObj name="Слайд think-cell" r:id="rId5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B1B9649A-8A7A-434E-A9A5-447A51596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992FC779-CBCA-1C4F-ABBF-572EB2195FA8}"/>
              </a:ext>
            </a:extLst>
          </p:cNvPr>
          <p:cNvSpPr/>
          <p:nvPr/>
        </p:nvSpPr>
        <p:spPr>
          <a:xfrm>
            <a:off x="243508" y="168960"/>
            <a:ext cx="11754528" cy="842134"/>
          </a:xfrm>
          <a:prstGeom prst="rect">
            <a:avLst/>
          </a:prstGeom>
        </p:spPr>
        <p:txBody>
          <a:bodyPr wrap="square" lIns="121485" tIns="60760" rIns="121485" bIns="607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000" b="1" noProof="0" dirty="0">
                <a:solidFill>
                  <a:srgbClr val="1BCCB3"/>
                </a:solidFill>
                <a:latin typeface="Century Gothic" panose="020B0502020202020204"/>
              </a:rPr>
              <a:t>Однако и в мировом масштабе </a:t>
            </a:r>
            <a:r>
              <a:rPr lang="ru-RU" sz="2500" noProof="0" dirty="0">
                <a:solidFill>
                  <a:schemeClr val="bg1"/>
                </a:solidFill>
                <a:latin typeface="Century Gothic" panose="020B0502020202020204"/>
              </a:rPr>
              <a:t>немного примеров успешного взаимодействия частного бизнеса и государства в сфере культуры</a:t>
            </a:r>
            <a:endParaRPr kumimoji="0" lang="ru-RU" sz="25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43508" y="1060316"/>
            <a:ext cx="54483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Стоимость и кол-во проектов ГЧП в Европе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,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млрд евро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0814" y="4062641"/>
            <a:ext cx="5539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Проектов ГЧП по секторам в 2019 г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val="2210629011"/>
              </p:ext>
            </p:extLst>
          </p:nvPr>
        </p:nvGraphicFramePr>
        <p:xfrm>
          <a:off x="388134" y="1748414"/>
          <a:ext cx="5447587" cy="22089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9" name="Диаграмма 18"/>
          <p:cNvGraphicFramePr/>
          <p:nvPr>
            <p:extLst>
              <p:ext uri="{D42A27DB-BD31-4B8C-83A1-F6EECF244321}">
                <p14:modId xmlns:p14="http://schemas.microsoft.com/office/powerpoint/2010/main" val="835601632"/>
              </p:ext>
            </p:extLst>
          </p:nvPr>
        </p:nvGraphicFramePr>
        <p:xfrm>
          <a:off x="243508" y="1597921"/>
          <a:ext cx="48422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3780965" y="2004749"/>
            <a:ext cx="19372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Кол-во проектов, шт.</a:t>
            </a:r>
          </a:p>
        </p:txBody>
      </p:sp>
      <p:grpSp>
        <p:nvGrpSpPr>
          <p:cNvPr id="24" name="Группа 23"/>
          <p:cNvGrpSpPr/>
          <p:nvPr/>
        </p:nvGrpSpPr>
        <p:grpSpPr>
          <a:xfrm>
            <a:off x="3399738" y="2099389"/>
            <a:ext cx="350405" cy="108000"/>
            <a:chOff x="9576333" y="3429000"/>
            <a:chExt cx="350405" cy="108000"/>
          </a:xfrm>
        </p:grpSpPr>
        <p:sp>
          <p:nvSpPr>
            <p:cNvPr id="25" name="Овал 24"/>
            <p:cNvSpPr/>
            <p:nvPr/>
          </p:nvSpPr>
          <p:spPr>
            <a:xfrm>
              <a:off x="9690100" y="3429000"/>
              <a:ext cx="108000" cy="108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cxnSp>
          <p:nvCxnSpPr>
            <p:cNvPr id="26" name="Прямая соединительная линия 25"/>
            <p:cNvCxnSpPr/>
            <p:nvPr/>
          </p:nvCxnSpPr>
          <p:spPr>
            <a:xfrm>
              <a:off x="9576333" y="3486200"/>
              <a:ext cx="350405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9" name="Прямая соединительная линия 28"/>
          <p:cNvCxnSpPr/>
          <p:nvPr/>
        </p:nvCxnSpPr>
        <p:spPr>
          <a:xfrm>
            <a:off x="5725283" y="1224210"/>
            <a:ext cx="0" cy="5466295"/>
          </a:xfrm>
          <a:prstGeom prst="line">
            <a:avLst/>
          </a:prstGeom>
          <a:noFill/>
          <a:ln w="9525" cap="flat" cmpd="sng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4" name="Прямая соединительная линия 13"/>
          <p:cNvCxnSpPr/>
          <p:nvPr/>
        </p:nvCxnSpPr>
        <p:spPr>
          <a:xfrm>
            <a:off x="463542" y="3985168"/>
            <a:ext cx="4983155" cy="0"/>
          </a:xfrm>
          <a:prstGeom prst="line">
            <a:avLst/>
          </a:prstGeom>
          <a:noFill/>
          <a:ln w="9525" cap="flat" cmpd="sng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6" name="TextBox 15"/>
          <p:cNvSpPr txBox="1"/>
          <p:nvPr/>
        </p:nvSpPr>
        <p:spPr>
          <a:xfrm>
            <a:off x="6294953" y="1195088"/>
            <a:ext cx="54483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Меры поддержки ГЧП в мире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3412884"/>
              </p:ext>
            </p:extLst>
          </p:nvPr>
        </p:nvGraphicFramePr>
        <p:xfrm>
          <a:off x="5977141" y="1798824"/>
          <a:ext cx="6084000" cy="48265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4000">
                  <a:extLst>
                    <a:ext uri="{9D8B030D-6E8A-4147-A177-3AD203B41FA5}">
                      <a16:colId xmlns:a16="http://schemas.microsoft.com/office/drawing/2014/main" val="641922220"/>
                    </a:ext>
                  </a:extLst>
                </a:gridCol>
                <a:gridCol w="2844000">
                  <a:extLst>
                    <a:ext uri="{9D8B030D-6E8A-4147-A177-3AD203B41FA5}">
                      <a16:colId xmlns:a16="http://schemas.microsoft.com/office/drawing/2014/main" val="2647909970"/>
                    </a:ext>
                  </a:extLst>
                </a:gridCol>
                <a:gridCol w="2916000">
                  <a:extLst>
                    <a:ext uri="{9D8B030D-6E8A-4147-A177-3AD203B41FA5}">
                      <a16:colId xmlns:a16="http://schemas.microsoft.com/office/drawing/2014/main" val="939905915"/>
                    </a:ext>
                  </a:extLst>
                </a:gridCol>
              </a:tblGrid>
              <a:tr h="396000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ФИНАНСОВАЯ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НЕФИНАНСОВАЯ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6714011"/>
                  </a:ext>
                </a:extLst>
              </a:tr>
              <a:tr h="1003673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ru-RU" sz="20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rgbClr val="1BCCB3"/>
                          </a:solidFill>
                        </a:rPr>
                        <a:t>Софинансирование</a:t>
                      </a:r>
                      <a:r>
                        <a:rPr lang="ru-RU" sz="1100" dirty="0">
                          <a:solidFill>
                            <a:schemeClr val="bg1"/>
                          </a:solidFill>
                        </a:rPr>
                        <a:t> затрат на создание/ реконструкцию и эксплуатацию объекта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rgbClr val="1BCCB3"/>
                          </a:solidFill>
                        </a:rPr>
                        <a:t>Участие в капитале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rgbClr val="1BCCB3"/>
                          </a:solidFill>
                        </a:rPr>
                        <a:t>Льготное кредитование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>
                          <a:solidFill>
                            <a:srgbClr val="04AAC1"/>
                          </a:solidFill>
                        </a:rPr>
                        <a:t>Административная и законодательная поддержка: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>
                          <a:solidFill>
                            <a:schemeClr val="bg1"/>
                          </a:solidFill>
                        </a:rPr>
                        <a:t>Ускоренная процедура согласования документов, система «единого окна»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>
                          <a:solidFill>
                            <a:schemeClr val="bg1"/>
                          </a:solidFill>
                        </a:rPr>
                        <a:t>Принятие</a:t>
                      </a:r>
                      <a:r>
                        <a:rPr lang="ru-RU" sz="1100" b="0" baseline="0" dirty="0">
                          <a:solidFill>
                            <a:schemeClr val="bg1"/>
                          </a:solidFill>
                        </a:rPr>
                        <a:t> необходимых НПА для стимулирования рынка </a:t>
                      </a:r>
                      <a:endParaRPr lang="ru-RU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5990061"/>
                  </a:ext>
                </a:extLst>
              </a:tr>
              <a:tr h="1003673">
                <a:tc>
                  <a:txBody>
                    <a:bodyPr/>
                    <a:lstStyle/>
                    <a:p>
                      <a:r>
                        <a:rPr lang="ru-RU" sz="2000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>
                          <a:solidFill>
                            <a:srgbClr val="1BCCB3"/>
                          </a:solidFill>
                        </a:rPr>
                        <a:t>Субсидирование: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>
                          <a:solidFill>
                            <a:schemeClr val="bg1"/>
                          </a:solidFill>
                        </a:rPr>
                        <a:t>% ставки по кредитам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>
                          <a:solidFill>
                            <a:schemeClr val="bg1"/>
                          </a:solidFill>
                        </a:rPr>
                        <a:t>уплаты по аренде и лизингу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>
                          <a:solidFill>
                            <a:srgbClr val="04AAC1"/>
                          </a:solidFill>
                        </a:rPr>
                        <a:t>Методологическая поддержка</a:t>
                      </a:r>
                      <a:r>
                        <a:rPr lang="ru-RU" sz="1200" b="1" baseline="0" dirty="0">
                          <a:solidFill>
                            <a:srgbClr val="04AAC1"/>
                          </a:solidFill>
                        </a:rPr>
                        <a:t> и исследование рынка</a:t>
                      </a:r>
                      <a:endParaRPr lang="ru-RU" sz="1200" b="1" dirty="0">
                        <a:solidFill>
                          <a:srgbClr val="04AAC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3347634"/>
                  </a:ext>
                </a:extLst>
              </a:tr>
              <a:tr h="1003673">
                <a:tc>
                  <a:txBody>
                    <a:bodyPr/>
                    <a:lstStyle/>
                    <a:p>
                      <a:r>
                        <a:rPr lang="ru-RU" sz="2000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>
                          <a:solidFill>
                            <a:srgbClr val="1BCCB3"/>
                          </a:solidFill>
                        </a:rPr>
                        <a:t>Гарантии и страхование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>
                          <a:solidFill>
                            <a:srgbClr val="04AAC1"/>
                          </a:solidFill>
                        </a:rPr>
                        <a:t>Правовое</a:t>
                      </a:r>
                      <a:r>
                        <a:rPr lang="ru-RU" sz="1200" b="1" baseline="0" dirty="0">
                          <a:solidFill>
                            <a:srgbClr val="04AAC1"/>
                          </a:solidFill>
                        </a:rPr>
                        <a:t> и финансовое консультирование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1479280"/>
                  </a:ext>
                </a:extLst>
              </a:tr>
              <a:tr h="1003673">
                <a:tc>
                  <a:txBody>
                    <a:bodyPr/>
                    <a:lstStyle/>
                    <a:p>
                      <a:r>
                        <a:rPr lang="ru-RU" sz="2000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>
                          <a:solidFill>
                            <a:srgbClr val="1BCCB3"/>
                          </a:solidFill>
                        </a:rPr>
                        <a:t>Государственные</a:t>
                      </a:r>
                      <a:r>
                        <a:rPr lang="ru-RU" sz="1200" b="1" baseline="0" dirty="0">
                          <a:solidFill>
                            <a:srgbClr val="1BCCB3"/>
                          </a:solidFill>
                        </a:rPr>
                        <a:t> льготы: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baseline="0" dirty="0">
                          <a:solidFill>
                            <a:schemeClr val="bg1"/>
                          </a:solidFill>
                        </a:rPr>
                        <a:t>Точечное тарифное регулирование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baseline="0" dirty="0">
                          <a:solidFill>
                            <a:schemeClr val="bg1"/>
                          </a:solidFill>
                        </a:rPr>
                        <a:t>Налоговые льготы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baseline="0" dirty="0">
                          <a:solidFill>
                            <a:schemeClr val="bg1"/>
                          </a:solidFill>
                        </a:rPr>
                        <a:t>Льготы на аренду</a:t>
                      </a:r>
                      <a:r>
                        <a:rPr lang="en-US" sz="1100" baseline="0" dirty="0">
                          <a:solidFill>
                            <a:schemeClr val="bg1"/>
                          </a:solidFill>
                        </a:rPr>
                        <a:t>/</a:t>
                      </a:r>
                      <a:r>
                        <a:rPr lang="ru-RU" sz="1100" baseline="0" dirty="0">
                          <a:solidFill>
                            <a:schemeClr val="bg1"/>
                          </a:solidFill>
                        </a:rPr>
                        <a:t>лизинг</a:t>
                      </a:r>
                      <a:endParaRPr lang="ru-RU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>
                          <a:solidFill>
                            <a:srgbClr val="04AAC1"/>
                          </a:solidFill>
                        </a:rPr>
                        <a:t>Информационная и образовательная поддержка: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>
                          <a:solidFill>
                            <a:schemeClr val="bg1"/>
                          </a:solidFill>
                        </a:rPr>
                        <a:t>Освещение</a:t>
                      </a:r>
                      <a:r>
                        <a:rPr lang="ru-RU" sz="1100" baseline="0" dirty="0">
                          <a:solidFill>
                            <a:schemeClr val="bg1"/>
                          </a:solidFill>
                        </a:rPr>
                        <a:t> проектов ГЧП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100" baseline="0" dirty="0">
                          <a:solidFill>
                            <a:schemeClr val="bg1"/>
                          </a:solidFill>
                        </a:rPr>
                        <a:t>База данных проектов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bg1"/>
                          </a:solidFill>
                        </a:rPr>
                        <a:t>Road-show </a:t>
                      </a:r>
                      <a:r>
                        <a:rPr lang="ru-RU" sz="1100" baseline="0" dirty="0">
                          <a:solidFill>
                            <a:schemeClr val="bg1"/>
                          </a:solidFill>
                        </a:rPr>
                        <a:t>и поиск возможных источников инвестиций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28373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9611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1B9649A-8A7A-434E-A9A5-447A515964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8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B1B9649A-8A7A-434E-A9A5-447A51596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992FC779-CBCA-1C4F-ABBF-572EB2195FA8}"/>
              </a:ext>
            </a:extLst>
          </p:cNvPr>
          <p:cNvSpPr/>
          <p:nvPr/>
        </p:nvSpPr>
        <p:spPr>
          <a:xfrm>
            <a:off x="243508" y="168960"/>
            <a:ext cx="11754528" cy="515122"/>
          </a:xfrm>
          <a:prstGeom prst="rect">
            <a:avLst/>
          </a:prstGeom>
        </p:spPr>
        <p:txBody>
          <a:bodyPr wrap="square" lIns="121485" tIns="60760" rIns="121485" bIns="607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Анализ ключевых НПА</a:t>
            </a:r>
            <a:r>
              <a:rPr kumimoji="0" lang="ru-RU" sz="3000" b="1" i="0" u="none" strike="noStrike" kern="1200" cap="none" spc="0" normalizeH="0" noProof="0" dirty="0" smtClean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 и предложения по изменению</a:t>
            </a:r>
            <a:endParaRPr kumimoji="0" lang="ru-RU" sz="3000" b="1" i="0" u="none" strike="noStrike" kern="1200" cap="none" spc="0" normalizeH="0" baseline="0" noProof="0" dirty="0">
              <a:ln>
                <a:noFill/>
              </a:ln>
              <a:solidFill>
                <a:srgbClr val="1BCCB3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833481" y="1018562"/>
            <a:ext cx="703590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Действующий</a:t>
            </a:r>
            <a:r>
              <a:rPr kumimoji="0" lang="ru-RU" sz="1300" b="0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 механизм не привлекателен, так как льготная ставка аренды вступает в действие только после проведения реставрации за свой счет (7 лет)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Предлагается продажа ОКН в собственность/земля в аренду (в собственность для аварийных ОКН) со стартовой ценой 1 рубль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63581" y="717078"/>
            <a:ext cx="25109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. «Аренда за 1 рубль» 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1BCCB3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1959" y="1018562"/>
            <a:ext cx="4146422" cy="2720749"/>
          </a:xfrm>
          <a:prstGeom prst="rect">
            <a:avLst/>
          </a:prstGeom>
        </p:spPr>
      </p:pic>
      <p:sp>
        <p:nvSpPr>
          <p:cNvPr id="5" name="Стрелка вправо 4"/>
          <p:cNvSpPr/>
          <p:nvPr/>
        </p:nvSpPr>
        <p:spPr>
          <a:xfrm>
            <a:off x="2874535" y="826342"/>
            <a:ext cx="445827" cy="159224"/>
          </a:xfrm>
          <a:prstGeom prst="rightArrow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3320362" y="717078"/>
            <a:ext cx="25109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«Продажа за 1 рубль» 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1BCCB3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833481" y="2582658"/>
            <a:ext cx="7035902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Расширение перечня видов деятельности,</a:t>
            </a:r>
            <a:r>
              <a:rPr kumimoji="0" lang="ru-RU" sz="1300" b="0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 разрешенных для целевого использования передаваемых концессионеру объектов культуры после окончания реконструкции/реставрации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63581" y="2281174"/>
            <a:ext cx="66923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1600" dirty="0">
                <a:solidFill>
                  <a:srgbClr val="1BCCB3"/>
                </a:solidFill>
                <a:latin typeface="Century Gothic" panose="020B0502020202020204"/>
              </a:rPr>
              <a:t>2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. Изменения в типовое концессионное соглашение 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1BCCB3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833481" y="4218120"/>
            <a:ext cx="7035902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Снижение минимального порога капиталовложений в сфере культуры с 250 млн. рублей до 25-50 млн.</a:t>
            </a:r>
            <a:r>
              <a:rPr kumimoji="0" lang="ru-RU" sz="1300" b="0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 рублей</a:t>
            </a:r>
            <a:r>
              <a:rPr kumimoji="0" lang="ru-RU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 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63581" y="3544517"/>
            <a:ext cx="66923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3. Изменения в </a:t>
            </a:r>
            <a:r>
              <a:rPr lang="ru-RU" sz="1600" dirty="0" smtClean="0">
                <a:solidFill>
                  <a:srgbClr val="1BCCB3"/>
                </a:solidFill>
                <a:latin typeface="Century Gothic" panose="020B0502020202020204"/>
              </a:rPr>
              <a:t>Федеральный закон «О защите и поощрении капиталовложений в Российской Федерации»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1BCCB3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833481" y="5312187"/>
            <a:ext cx="7035902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Включение учреждений (включая предлагаемое к созданию агентство) и ОИВ в сфере культуры и охраны культурного наследия в качестве одной из сторон участия на стороне </a:t>
            </a:r>
            <a:r>
              <a:rPr kumimoji="0" lang="ru-RU" sz="13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концедента</a:t>
            </a:r>
            <a:r>
              <a:rPr kumimoji="0" lang="ru-RU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 в обязательствах по концессионному соглашению 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63581" y="4797684"/>
            <a:ext cx="66923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sz="1600" dirty="0">
                <a:solidFill>
                  <a:srgbClr val="1BCCB3"/>
                </a:solidFill>
                <a:latin typeface="Century Gothic" panose="020B0502020202020204"/>
              </a:rPr>
              <a:t>4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. </a:t>
            </a:r>
            <a:r>
              <a:rPr lang="ru-RU" sz="1600" noProof="0" dirty="0" smtClean="0">
                <a:solidFill>
                  <a:srgbClr val="1BCCB3"/>
                </a:solidFill>
                <a:latin typeface="Century Gothic" panose="020B0502020202020204"/>
              </a:rPr>
              <a:t>Изменение в 115-ФЗ «О концессионных соглашениях)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1BCCB3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092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1B9649A-8A7A-434E-A9A5-447A515964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8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B1B9649A-8A7A-434E-A9A5-447A51596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7">
            <a:extLst>
              <a:ext uri="{FF2B5EF4-FFF2-40B4-BE49-F238E27FC236}">
                <a16:creationId xmlns:a16="http://schemas.microsoft.com/office/drawing/2014/main" id="{9112FC24-B0BB-43AE-AB6F-2F8A6318C976}"/>
              </a:ext>
            </a:extLst>
          </p:cNvPr>
          <p:cNvGrpSpPr/>
          <p:nvPr/>
        </p:nvGrpSpPr>
        <p:grpSpPr>
          <a:xfrm flipH="1">
            <a:off x="486250" y="477136"/>
            <a:ext cx="11704320" cy="5935130"/>
            <a:chOff x="-161213" y="477136"/>
            <a:chExt cx="11704320" cy="5935130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202B0099-32CD-4A9E-A010-EB75F1B7ADBC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61213" y="477136"/>
              <a:ext cx="11704320" cy="0"/>
            </a:xfrm>
            <a:prstGeom prst="line">
              <a:avLst/>
            </a:prstGeom>
            <a:ln w="44450">
              <a:solidFill>
                <a:srgbClr val="04AAC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66FFECB2-D63A-4DED-B565-1B5EC1C6DBCE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543107" y="477136"/>
              <a:ext cx="0" cy="5935130"/>
            </a:xfrm>
            <a:prstGeom prst="line">
              <a:avLst/>
            </a:prstGeom>
            <a:ln w="44450">
              <a:solidFill>
                <a:srgbClr val="04AAC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8423856D-6F4B-428C-8039-92BC2469A81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61213" y="6392850"/>
              <a:ext cx="11704320" cy="13272"/>
            </a:xfrm>
            <a:prstGeom prst="line">
              <a:avLst/>
            </a:prstGeom>
            <a:ln w="44450">
              <a:solidFill>
                <a:srgbClr val="04AAC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Box 8"/>
          <p:cNvSpPr txBox="1"/>
          <p:nvPr/>
        </p:nvSpPr>
        <p:spPr>
          <a:xfrm>
            <a:off x="688807" y="1227761"/>
            <a:ext cx="4489368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800"/>
              </a:spcAft>
              <a:buFont typeface="+mj-lt"/>
              <a:buAutoNum type="arabicPeriod"/>
            </a:pPr>
            <a:r>
              <a:rPr lang="ru-RU" sz="1500" b="1" dirty="0" smtClean="0">
                <a:solidFill>
                  <a:srgbClr val="04AAC1"/>
                </a:solidFill>
              </a:rPr>
              <a:t>Отсутствие прямой связи с показателями Нацпроекта «Культура»</a:t>
            </a:r>
            <a:endParaRPr lang="ru-RU" sz="1500" b="1" dirty="0">
              <a:solidFill>
                <a:srgbClr val="04AAC1"/>
              </a:solidFill>
            </a:endParaRPr>
          </a:p>
          <a:p>
            <a:pPr marL="342900" indent="-342900">
              <a:spcAft>
                <a:spcPts val="1800"/>
              </a:spcAft>
              <a:buFont typeface="+mj-lt"/>
              <a:buAutoNum type="arabicPeriod"/>
            </a:pPr>
            <a:r>
              <a:rPr lang="ru-RU" sz="1500" b="1" dirty="0">
                <a:solidFill>
                  <a:srgbClr val="04AAC1"/>
                </a:solidFill>
              </a:rPr>
              <a:t>Отсутствие инвестиционной привлекательности ГЧП </a:t>
            </a:r>
            <a:r>
              <a:rPr lang="ru-RU" sz="1500" dirty="0">
                <a:solidFill>
                  <a:schemeClr val="bg1"/>
                </a:solidFill>
              </a:rPr>
              <a:t>для инвестора (по итогам разработки типовых моделей окупаемости)</a:t>
            </a:r>
          </a:p>
          <a:p>
            <a:pPr marL="342900" indent="-342900">
              <a:spcAft>
                <a:spcPts val="1800"/>
              </a:spcAft>
              <a:buFont typeface="+mj-lt"/>
              <a:buAutoNum type="arabicPeriod"/>
            </a:pPr>
            <a:r>
              <a:rPr lang="ru-RU" sz="1500" b="1" dirty="0">
                <a:solidFill>
                  <a:srgbClr val="04AAC1"/>
                </a:solidFill>
              </a:rPr>
              <a:t>… потребность в существенном финансовом участии государства </a:t>
            </a:r>
            <a:r>
              <a:rPr lang="ru-RU" sz="1500" dirty="0">
                <a:solidFill>
                  <a:schemeClr val="bg1"/>
                </a:solidFill>
              </a:rPr>
              <a:t>в реализации ГЧП за счет различных механизмов (налоговые льготы, гарантийные фонды и т.п.)</a:t>
            </a:r>
          </a:p>
          <a:p>
            <a:pPr marL="342900" indent="-342900">
              <a:spcAft>
                <a:spcPts val="1800"/>
              </a:spcAft>
              <a:buFont typeface="+mj-lt"/>
              <a:buAutoNum type="arabicPeriod"/>
            </a:pPr>
            <a:r>
              <a:rPr lang="ru-RU" sz="1500" b="1" dirty="0">
                <a:solidFill>
                  <a:srgbClr val="04AAC1"/>
                </a:solidFill>
              </a:rPr>
              <a:t>Отсутствие мотивации </a:t>
            </a:r>
            <a:r>
              <a:rPr lang="ru-RU" sz="1500" dirty="0">
                <a:solidFill>
                  <a:schemeClr val="bg1"/>
                </a:solidFill>
              </a:rPr>
              <a:t>и надлежащих компетенций для реализации проекта на уровне РОИВ  </a:t>
            </a:r>
          </a:p>
          <a:p>
            <a:pPr marL="342900" indent="-342900">
              <a:spcAft>
                <a:spcPts val="1800"/>
              </a:spcAft>
              <a:buFont typeface="+mj-lt"/>
              <a:buAutoNum type="arabicPeriod"/>
            </a:pPr>
            <a:r>
              <a:rPr lang="ru-RU" sz="1500" b="1" dirty="0">
                <a:solidFill>
                  <a:srgbClr val="04AAC1"/>
                </a:solidFill>
              </a:rPr>
              <a:t>Низкий приоритет проекта </a:t>
            </a:r>
            <a:r>
              <a:rPr lang="ru-RU" sz="1500" dirty="0">
                <a:solidFill>
                  <a:schemeClr val="bg1"/>
                </a:solidFill>
              </a:rPr>
              <a:t>в рамках реализации единого плана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992FC779-CBCA-1C4F-ABBF-572EB2195FA8}"/>
              </a:ext>
            </a:extLst>
          </p:cNvPr>
          <p:cNvSpPr/>
          <p:nvPr/>
        </p:nvSpPr>
        <p:spPr>
          <a:xfrm>
            <a:off x="613377" y="522970"/>
            <a:ext cx="11754528" cy="515122"/>
          </a:xfrm>
          <a:prstGeom prst="rect">
            <a:avLst/>
          </a:prstGeom>
        </p:spPr>
        <p:txBody>
          <a:bodyPr wrap="square" lIns="121485" tIns="60760" rIns="121485" bIns="607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1200" cap="none" spc="0" normalizeH="0" baseline="0" noProof="0" dirty="0">
                <a:ln>
                  <a:noFill/>
                </a:ln>
                <a:solidFill>
                  <a:srgbClr val="04AAC1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Ключевые риски проекта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4" r="5174"/>
          <a:stretch>
            <a:fillRect/>
          </a:stretch>
        </p:blipFill>
        <p:spPr>
          <a:xfrm>
            <a:off x="5268686" y="0"/>
            <a:ext cx="6923314" cy="6858000"/>
          </a:xfrm>
          <a:custGeom>
            <a:avLst/>
            <a:gdLst>
              <a:gd name="connsiteX0" fmla="*/ 1714500 w 6923314"/>
              <a:gd name="connsiteY0" fmla="*/ 0 h 6858000"/>
              <a:gd name="connsiteX1" fmla="*/ 6923314 w 6923314"/>
              <a:gd name="connsiteY1" fmla="*/ 0 h 6858000"/>
              <a:gd name="connsiteX2" fmla="*/ 6923314 w 6923314"/>
              <a:gd name="connsiteY2" fmla="*/ 1637212 h 6858000"/>
              <a:gd name="connsiteX3" fmla="*/ 5618117 w 6923314"/>
              <a:gd name="connsiteY3" fmla="*/ 6858000 h 6858000"/>
              <a:gd name="connsiteX4" fmla="*/ 0 w 692331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3314" h="6858000">
                <a:moveTo>
                  <a:pt x="1714500" y="0"/>
                </a:moveTo>
                <a:lnTo>
                  <a:pt x="6923314" y="0"/>
                </a:lnTo>
                <a:lnTo>
                  <a:pt x="6923314" y="1637212"/>
                </a:lnTo>
                <a:lnTo>
                  <a:pt x="5618117" y="6858000"/>
                </a:lnTo>
                <a:lnTo>
                  <a:pt x="0" y="68580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1290289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78" r="27716"/>
          <a:stretch/>
        </p:blipFill>
        <p:spPr>
          <a:xfrm>
            <a:off x="262948" y="2176528"/>
            <a:ext cx="6318425" cy="461040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921" b="1299"/>
          <a:stretch/>
        </p:blipFill>
        <p:spPr>
          <a:xfrm>
            <a:off x="5791235" y="229435"/>
            <a:ext cx="6342501" cy="622238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Прямоугольник 5"/>
          <p:cNvSpPr/>
          <p:nvPr/>
        </p:nvSpPr>
        <p:spPr>
          <a:xfrm>
            <a:off x="5842322" y="6117526"/>
            <a:ext cx="2982045" cy="334289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Морозов С.Т.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9018699" y="5270293"/>
            <a:ext cx="2437355" cy="339612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Тенишева М.К.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9794523" y="2064809"/>
            <a:ext cx="2339214" cy="366998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Мамонтов С.И.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6239461" y="3541348"/>
            <a:ext cx="2339214" cy="366998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Третьяков П.М. 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123264" y="275788"/>
            <a:ext cx="561882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1BCCB3"/>
                </a:solidFill>
              </a:rPr>
              <a:t>Высокий спрос на культуру и исторические</a:t>
            </a:r>
          </a:p>
          <a:p>
            <a:r>
              <a:rPr lang="ru-RU" sz="2400" b="1" dirty="0" smtClean="0">
                <a:solidFill>
                  <a:srgbClr val="1BCCB3"/>
                </a:solidFill>
              </a:rPr>
              <a:t>традиции меценатства в России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219436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1B9649A-8A7A-434E-A9A5-447A515964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2" name="Слайд think-cell" r:id="rId5" imgW="425" imgH="424" progId="TCLayout.ActiveDocument.1">
                  <p:embed/>
                </p:oleObj>
              </mc:Choice>
              <mc:Fallback>
                <p:oleObj name="Слайд think-cell" r:id="rId5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B1B9649A-8A7A-434E-A9A5-447A51596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3" name="Прямоугольник 292"/>
          <p:cNvSpPr/>
          <p:nvPr/>
        </p:nvSpPr>
        <p:spPr>
          <a:xfrm>
            <a:off x="140766" y="32913"/>
            <a:ext cx="1157903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rgbClr val="1BCCB3"/>
                </a:solidFill>
              </a:rPr>
              <a:t>Общий объем инвестиций в культуру в России </a:t>
            </a:r>
            <a:r>
              <a:rPr lang="ru-RU" sz="2800" dirty="0">
                <a:solidFill>
                  <a:schemeClr val="bg1"/>
                </a:solidFill>
              </a:rPr>
              <a:t>недостаточен.</a:t>
            </a:r>
            <a:r>
              <a:rPr lang="en-US" sz="2800" dirty="0">
                <a:solidFill>
                  <a:schemeClr val="bg1"/>
                </a:solidFill>
              </a:rPr>
              <a:t> </a:t>
            </a:r>
            <a:r>
              <a:rPr lang="ru-RU" sz="2800" dirty="0">
                <a:solidFill>
                  <a:schemeClr val="bg1"/>
                </a:solidFill>
              </a:rPr>
              <a:t>Объем и доля частных инвестиций </a:t>
            </a:r>
            <a:r>
              <a:rPr lang="ru-RU" sz="2800" dirty="0" smtClean="0">
                <a:solidFill>
                  <a:schemeClr val="bg1"/>
                </a:solidFill>
              </a:rPr>
              <a:t>стабильно низкая</a:t>
            </a:r>
            <a:endParaRPr lang="ru-RU" sz="2800" dirty="0">
              <a:solidFill>
                <a:schemeClr val="bg1"/>
              </a:solidFill>
            </a:endParaRPr>
          </a:p>
        </p:txBody>
      </p:sp>
      <p:pic>
        <p:nvPicPr>
          <p:cNvPr id="41" name="Рисунок 40"/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350" t="41396" r="3146" b="42945"/>
          <a:stretch/>
        </p:blipFill>
        <p:spPr>
          <a:xfrm>
            <a:off x="329609" y="1669995"/>
            <a:ext cx="486852" cy="486852"/>
          </a:xfrm>
          <a:prstGeom prst="ellipse">
            <a:avLst/>
          </a:prstGeom>
        </p:spPr>
      </p:pic>
      <p:sp>
        <p:nvSpPr>
          <p:cNvPr id="43" name="TextBox 42"/>
          <p:cNvSpPr txBox="1"/>
          <p:nvPr/>
        </p:nvSpPr>
        <p:spPr>
          <a:xfrm>
            <a:off x="935672" y="1415782"/>
            <a:ext cx="31119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chemeClr val="bg1"/>
                </a:solidFill>
              </a:rPr>
              <a:t>РОССИЯ 2020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95" name="Прямоугольник 294"/>
          <p:cNvSpPr/>
          <p:nvPr/>
        </p:nvSpPr>
        <p:spPr>
          <a:xfrm>
            <a:off x="935672" y="1738901"/>
            <a:ext cx="625252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1BCCB3"/>
                </a:solidFill>
              </a:rPr>
              <a:t>6</a:t>
            </a:r>
            <a:r>
              <a:rPr lang="en-GB" sz="2400" b="1" dirty="0" smtClean="0">
                <a:solidFill>
                  <a:srgbClr val="1BCCB3"/>
                </a:solidFill>
              </a:rPr>
              <a:t>30</a:t>
            </a:r>
            <a:r>
              <a:rPr lang="ru-RU" sz="2400" b="1" dirty="0" smtClean="0">
                <a:solidFill>
                  <a:srgbClr val="1BCCB3"/>
                </a:solidFill>
              </a:rPr>
              <a:t>,</a:t>
            </a:r>
            <a:r>
              <a:rPr lang="en-GB" sz="2400" b="1" dirty="0" smtClean="0">
                <a:solidFill>
                  <a:srgbClr val="1BCCB3"/>
                </a:solidFill>
              </a:rPr>
              <a:t>4</a:t>
            </a:r>
            <a:r>
              <a:rPr lang="ru-RU" sz="2400" dirty="0" smtClean="0">
                <a:solidFill>
                  <a:srgbClr val="1BCCB3"/>
                </a:solidFill>
              </a:rPr>
              <a:t> </a:t>
            </a:r>
            <a:r>
              <a:rPr lang="ru-RU" sz="2400" dirty="0">
                <a:solidFill>
                  <a:srgbClr val="1BCCB3"/>
                </a:solidFill>
              </a:rPr>
              <a:t>млрд руб.  </a:t>
            </a:r>
          </a:p>
          <a:p>
            <a:r>
              <a:rPr lang="ru-RU" dirty="0" smtClean="0">
                <a:solidFill>
                  <a:srgbClr val="1BCCB3"/>
                </a:solidFill>
              </a:rPr>
              <a:t>25,2 </a:t>
            </a:r>
            <a:r>
              <a:rPr lang="ru-RU" dirty="0" smtClean="0">
                <a:solidFill>
                  <a:srgbClr val="1BCCB3"/>
                </a:solidFill>
              </a:rPr>
              <a:t>млрд </a:t>
            </a:r>
            <a:r>
              <a:rPr lang="ru-RU" dirty="0">
                <a:solidFill>
                  <a:srgbClr val="1BCCB3"/>
                </a:solidFill>
              </a:rPr>
              <a:t>рублей частных инвестиций </a:t>
            </a:r>
            <a:r>
              <a:rPr lang="ru-RU" dirty="0" smtClean="0">
                <a:solidFill>
                  <a:srgbClr val="1BCCB3"/>
                </a:solidFill>
              </a:rPr>
              <a:t>(4</a:t>
            </a:r>
            <a:r>
              <a:rPr lang="ru-RU" dirty="0" smtClean="0">
                <a:solidFill>
                  <a:srgbClr val="1BCCB3"/>
                </a:solidFill>
              </a:rPr>
              <a:t>%)</a:t>
            </a:r>
          </a:p>
          <a:p>
            <a:r>
              <a:rPr lang="ru-RU" dirty="0" smtClean="0">
                <a:solidFill>
                  <a:srgbClr val="1BCCB3"/>
                </a:solidFill>
              </a:rPr>
              <a:t>54,4 млрд рублей на объекты ОКН</a:t>
            </a:r>
            <a:endParaRPr lang="ru-RU" dirty="0">
              <a:solidFill>
                <a:srgbClr val="1BCCB3"/>
              </a:solidFill>
            </a:endParaRPr>
          </a:p>
        </p:txBody>
      </p:sp>
      <p:sp>
        <p:nvSpPr>
          <p:cNvPr id="254" name="Прямоугольник 253"/>
          <p:cNvSpPr/>
          <p:nvPr/>
        </p:nvSpPr>
        <p:spPr>
          <a:xfrm>
            <a:off x="1112250" y="2658705"/>
            <a:ext cx="5376853" cy="9569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FE644E"/>
                </a:solidFill>
              </a:rPr>
              <a:t>Общая потребность в инвестициях только в объекты ОКН </a:t>
            </a:r>
            <a:r>
              <a:rPr lang="en-GB" dirty="0" smtClean="0">
                <a:solidFill>
                  <a:srgbClr val="FE644E"/>
                </a:solidFill>
              </a:rPr>
              <a:t>– </a:t>
            </a:r>
            <a:r>
              <a:rPr lang="ru-RU" dirty="0" smtClean="0">
                <a:solidFill>
                  <a:srgbClr val="FE644E"/>
                </a:solidFill>
              </a:rPr>
              <a:t>более 4</a:t>
            </a:r>
            <a:r>
              <a:rPr lang="en-US" dirty="0" smtClean="0">
                <a:solidFill>
                  <a:srgbClr val="FE644E"/>
                </a:solidFill>
              </a:rPr>
              <a:t> </a:t>
            </a:r>
            <a:r>
              <a:rPr lang="ru-RU" dirty="0" smtClean="0">
                <a:solidFill>
                  <a:srgbClr val="FE644E"/>
                </a:solidFill>
              </a:rPr>
              <a:t>трлн </a:t>
            </a:r>
            <a:r>
              <a:rPr lang="ru-RU" dirty="0">
                <a:solidFill>
                  <a:srgbClr val="FE644E"/>
                </a:solidFill>
              </a:rPr>
              <a:t>руб.</a:t>
            </a:r>
          </a:p>
        </p:txBody>
      </p:sp>
      <p:cxnSp>
        <p:nvCxnSpPr>
          <p:cNvPr id="301" name="Прямая соединительная линия 300"/>
          <p:cNvCxnSpPr/>
          <p:nvPr/>
        </p:nvCxnSpPr>
        <p:spPr>
          <a:xfrm>
            <a:off x="997659" y="2845203"/>
            <a:ext cx="0" cy="710964"/>
          </a:xfrm>
          <a:prstGeom prst="line">
            <a:avLst/>
          </a:prstGeom>
          <a:ln>
            <a:solidFill>
              <a:srgbClr val="FE644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57" name="Диаграмма 256"/>
          <p:cNvGraphicFramePr/>
          <p:nvPr>
            <p:extLst>
              <p:ext uri="{D42A27DB-BD31-4B8C-83A1-F6EECF244321}">
                <p14:modId xmlns:p14="http://schemas.microsoft.com/office/powerpoint/2010/main" val="1470084372"/>
              </p:ext>
            </p:extLst>
          </p:nvPr>
        </p:nvGraphicFramePr>
        <p:xfrm>
          <a:off x="8348920" y="2016230"/>
          <a:ext cx="3525284" cy="33313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03" name="TextBox 302"/>
          <p:cNvSpPr txBox="1"/>
          <p:nvPr/>
        </p:nvSpPr>
        <p:spPr>
          <a:xfrm>
            <a:off x="7688026" y="1356159"/>
            <a:ext cx="46865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chemeClr val="bg1"/>
                </a:solidFill>
              </a:rPr>
              <a:t>Объем средств в рамках </a:t>
            </a:r>
            <a:r>
              <a:rPr lang="ru-RU" sz="2400" dirty="0" smtClean="0">
                <a:solidFill>
                  <a:schemeClr val="bg1"/>
                </a:solidFill>
              </a:rPr>
              <a:t>нац</a:t>
            </a:r>
            <a:r>
              <a:rPr lang="ru-RU" sz="2400" dirty="0">
                <a:solidFill>
                  <a:schemeClr val="bg1"/>
                </a:solidFill>
              </a:rPr>
              <a:t>. </a:t>
            </a:r>
            <a:r>
              <a:rPr lang="ru-RU" sz="2400" dirty="0" smtClean="0">
                <a:solidFill>
                  <a:schemeClr val="bg1"/>
                </a:solidFill>
              </a:rPr>
              <a:t>проектов, </a:t>
            </a:r>
            <a:r>
              <a:rPr lang="ru-RU" dirty="0">
                <a:solidFill>
                  <a:schemeClr val="bg1"/>
                </a:solidFill>
              </a:rPr>
              <a:t>млрд руб.</a:t>
            </a:r>
          </a:p>
        </p:txBody>
      </p:sp>
      <p:cxnSp>
        <p:nvCxnSpPr>
          <p:cNvPr id="304" name="Прямая соединительная линия 303"/>
          <p:cNvCxnSpPr/>
          <p:nvPr/>
        </p:nvCxnSpPr>
        <p:spPr>
          <a:xfrm>
            <a:off x="8815674" y="2633952"/>
            <a:ext cx="94064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ash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5" name="Прямоугольник 304"/>
          <p:cNvSpPr/>
          <p:nvPr/>
        </p:nvSpPr>
        <p:spPr>
          <a:xfrm>
            <a:off x="7695706" y="2197099"/>
            <a:ext cx="1095172" cy="10772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</a:rPr>
              <a:t>Культура</a:t>
            </a:r>
          </a:p>
          <a:p>
            <a:r>
              <a:rPr lang="ru-RU" sz="2400" dirty="0" smtClean="0">
                <a:solidFill>
                  <a:srgbClr val="FE644E"/>
                </a:solidFill>
              </a:rPr>
              <a:t>136,4</a:t>
            </a:r>
            <a:endParaRPr lang="ru-RU" sz="2400" dirty="0">
              <a:solidFill>
                <a:srgbClr val="FE644E"/>
              </a:solidFill>
            </a:endParaRPr>
          </a:p>
          <a:p>
            <a:r>
              <a:rPr lang="ru-RU" sz="2400" dirty="0">
                <a:solidFill>
                  <a:srgbClr val="FE644E"/>
                </a:solidFill>
              </a:rPr>
              <a:t>0,5</a:t>
            </a:r>
            <a:r>
              <a:rPr lang="en-US" sz="2400" dirty="0">
                <a:solidFill>
                  <a:srgbClr val="FE644E"/>
                </a:solidFill>
              </a:rPr>
              <a:t>%</a:t>
            </a:r>
            <a:endParaRPr lang="ru-RU" sz="2400" dirty="0">
              <a:solidFill>
                <a:srgbClr val="FE644E"/>
              </a:solidFill>
            </a:endParaRPr>
          </a:p>
        </p:txBody>
      </p:sp>
      <p:sp>
        <p:nvSpPr>
          <p:cNvPr id="306" name="Прямоугольник 305"/>
          <p:cNvSpPr/>
          <p:nvPr/>
        </p:nvSpPr>
        <p:spPr>
          <a:xfrm>
            <a:off x="9296390" y="3802830"/>
            <a:ext cx="1763624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4000" b="1" dirty="0" smtClean="0">
                <a:solidFill>
                  <a:schemeClr val="bg1"/>
                </a:solidFill>
              </a:rPr>
              <a:t>26</a:t>
            </a:r>
            <a:r>
              <a:rPr lang="en-US" sz="4000" b="1" dirty="0" smtClean="0">
                <a:solidFill>
                  <a:schemeClr val="bg1"/>
                </a:solidFill>
              </a:rPr>
              <a:t> </a:t>
            </a:r>
            <a:r>
              <a:rPr lang="ru-RU" sz="4000" b="1" dirty="0" smtClean="0">
                <a:solidFill>
                  <a:schemeClr val="bg1"/>
                </a:solidFill>
              </a:rPr>
              <a:t>130</a:t>
            </a:r>
            <a:endParaRPr lang="en-US" sz="4000" b="1" dirty="0">
              <a:solidFill>
                <a:schemeClr val="bg1"/>
              </a:solidFill>
            </a:endParaRPr>
          </a:p>
          <a:p>
            <a:pPr algn="ctr"/>
            <a:r>
              <a:rPr lang="ru-RU" sz="2000" dirty="0">
                <a:solidFill>
                  <a:schemeClr val="bg1"/>
                </a:solidFill>
              </a:rPr>
              <a:t>млрд руб.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413614" y="3592509"/>
            <a:ext cx="61685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chemeClr val="bg1"/>
                </a:solidFill>
              </a:rPr>
              <a:t>Инвестиции в сферу культуры, </a:t>
            </a:r>
            <a:r>
              <a:rPr lang="ru-RU" dirty="0">
                <a:solidFill>
                  <a:schemeClr val="bg1"/>
                </a:solidFill>
              </a:rPr>
              <a:t>млрд руб.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540529" y="3642419"/>
            <a:ext cx="6632580" cy="0"/>
          </a:xfrm>
          <a:prstGeom prst="line">
            <a:avLst/>
          </a:prstGeom>
          <a:noFill/>
          <a:ln w="9525" cap="flat" cmpd="sng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6" name="Прямая соединительная линия 35"/>
          <p:cNvCxnSpPr/>
          <p:nvPr/>
        </p:nvCxnSpPr>
        <p:spPr>
          <a:xfrm>
            <a:off x="7465536" y="1626280"/>
            <a:ext cx="0" cy="4517599"/>
          </a:xfrm>
          <a:prstGeom prst="line">
            <a:avLst/>
          </a:prstGeom>
          <a:noFill/>
          <a:ln w="9525" cap="flat" cmpd="sng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graphicFrame>
        <p:nvGraphicFramePr>
          <p:cNvPr id="40" name="Диаграмма 39"/>
          <p:cNvGraphicFramePr/>
          <p:nvPr>
            <p:extLst>
              <p:ext uri="{D42A27DB-BD31-4B8C-83A1-F6EECF244321}">
                <p14:modId xmlns:p14="http://schemas.microsoft.com/office/powerpoint/2010/main" val="3959116978"/>
              </p:ext>
            </p:extLst>
          </p:nvPr>
        </p:nvGraphicFramePr>
        <p:xfrm>
          <a:off x="331230" y="4155691"/>
          <a:ext cx="6938891" cy="2185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4" name="TextBox 43"/>
          <p:cNvSpPr txBox="1"/>
          <p:nvPr/>
        </p:nvSpPr>
        <p:spPr>
          <a:xfrm>
            <a:off x="5445017" y="5503382"/>
            <a:ext cx="19372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Доля частных инвестиций в расходах на культуру</a:t>
            </a:r>
          </a:p>
        </p:txBody>
      </p:sp>
      <p:grpSp>
        <p:nvGrpSpPr>
          <p:cNvPr id="45" name="Группа 44"/>
          <p:cNvGrpSpPr/>
          <p:nvPr/>
        </p:nvGrpSpPr>
        <p:grpSpPr>
          <a:xfrm>
            <a:off x="5094612" y="5680214"/>
            <a:ext cx="350405" cy="108000"/>
            <a:chOff x="9576333" y="3429000"/>
            <a:chExt cx="350405" cy="108000"/>
          </a:xfrm>
        </p:grpSpPr>
        <p:sp>
          <p:nvSpPr>
            <p:cNvPr id="46" name="Овал 45"/>
            <p:cNvSpPr/>
            <p:nvPr/>
          </p:nvSpPr>
          <p:spPr>
            <a:xfrm>
              <a:off x="9690100" y="3429000"/>
              <a:ext cx="108000" cy="108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47" name="Прямая соединительная линия 46"/>
            <p:cNvCxnSpPr/>
            <p:nvPr/>
          </p:nvCxnSpPr>
          <p:spPr>
            <a:xfrm>
              <a:off x="9576333" y="3486200"/>
              <a:ext cx="350405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2" name="Диаграмма 41"/>
          <p:cNvGraphicFramePr/>
          <p:nvPr>
            <p:extLst>
              <p:ext uri="{D42A27DB-BD31-4B8C-83A1-F6EECF244321}">
                <p14:modId xmlns:p14="http://schemas.microsoft.com/office/powerpoint/2010/main" val="3459769288"/>
              </p:ext>
            </p:extLst>
          </p:nvPr>
        </p:nvGraphicFramePr>
        <p:xfrm>
          <a:off x="656287" y="4684158"/>
          <a:ext cx="4095248" cy="11698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5378912" y="4990577"/>
            <a:ext cx="106313" cy="10806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7774298" y="5426298"/>
            <a:ext cx="233726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i="1" dirty="0" smtClean="0">
                <a:solidFill>
                  <a:schemeClr val="bg1">
                    <a:lumMod val="65000"/>
                  </a:schemeClr>
                </a:solidFill>
              </a:rPr>
              <a:t>Источник: </a:t>
            </a:r>
            <a:r>
              <a:rPr lang="en-GB" sz="1050" i="1" dirty="0" smtClean="0">
                <a:solidFill>
                  <a:schemeClr val="bg1">
                    <a:lumMod val="65000"/>
                  </a:schemeClr>
                </a:solidFill>
              </a:rPr>
              <a:t>budget.gov.ru</a:t>
            </a:r>
            <a:endParaRPr lang="ru-RU" sz="1050" i="1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2428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2421867"/>
            <a:ext cx="12192000" cy="4436134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1B9649A-8A7A-434E-A9A5-447A515964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7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B1B9649A-8A7A-434E-A9A5-447A51596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992FC779-CBCA-1C4F-ABBF-572EB2195FA8}"/>
              </a:ext>
            </a:extLst>
          </p:cNvPr>
          <p:cNvSpPr/>
          <p:nvPr/>
        </p:nvSpPr>
        <p:spPr>
          <a:xfrm>
            <a:off x="328772" y="168960"/>
            <a:ext cx="11664753" cy="515122"/>
          </a:xfrm>
          <a:prstGeom prst="rect">
            <a:avLst/>
          </a:prstGeom>
        </p:spPr>
        <p:txBody>
          <a:bodyPr wrap="square" lIns="121485" tIns="60760" rIns="121485" bIns="607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000" b="1" dirty="0">
                <a:solidFill>
                  <a:srgbClr val="1BCCB3"/>
                </a:solidFill>
                <a:latin typeface="Century Gothic" panose="020B0502020202020204"/>
              </a:rPr>
              <a:t>Ц</a:t>
            </a:r>
            <a:r>
              <a:rPr lang="ru-RU" sz="3000" b="1" noProof="0" dirty="0" smtClean="0">
                <a:solidFill>
                  <a:srgbClr val="1BCCB3"/>
                </a:solidFill>
                <a:latin typeface="Century Gothic" panose="020B0502020202020204"/>
              </a:rPr>
              <a:t>ель проекта</a:t>
            </a:r>
            <a:endParaRPr kumimoji="0" lang="ru-RU" sz="3000" b="1" i="0" u="none" strike="noStrike" kern="1200" cap="none" spc="0" normalizeH="0" baseline="0" noProof="0" dirty="0">
              <a:ln>
                <a:noFill/>
              </a:ln>
              <a:solidFill>
                <a:srgbClr val="1BCCB3"/>
              </a:solidFill>
              <a:effectLst/>
              <a:uLnTx/>
              <a:uFillTx/>
              <a:latin typeface="Century Gothic" panose="020B0502020202020204"/>
            </a:endParaRPr>
          </a:p>
        </p:txBody>
      </p:sp>
      <p:pic>
        <p:nvPicPr>
          <p:cNvPr id="21" name="Рисунок 20"/>
          <p:cNvPicPr preferRelativeResize="0">
            <a:picLocks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6" t="6678" r="2670" b="8895"/>
          <a:stretch/>
        </p:blipFill>
        <p:spPr>
          <a:xfrm>
            <a:off x="4325428" y="4835966"/>
            <a:ext cx="2938320" cy="1782000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1"/>
          <a:stretch/>
        </p:blipFill>
        <p:spPr>
          <a:xfrm>
            <a:off x="8130417" y="4835966"/>
            <a:ext cx="2936438" cy="178200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909" y="4835966"/>
            <a:ext cx="2670189" cy="1782000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4040585" y="2995468"/>
            <a:ext cx="569698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600" dirty="0" smtClean="0">
                <a:solidFill>
                  <a:schemeClr val="bg1">
                    <a:lumMod val="85000"/>
                  </a:schemeClr>
                </a:solidFill>
                <a:latin typeface="Century Gothic" panose="020B0502020202020204"/>
                <a:ea typeface="Calibri" panose="020F0502020204030204" pitchFamily="34" charset="0"/>
                <a:cs typeface="Times New Roman" panose="02020603050405020304" pitchFamily="18" charset="0"/>
              </a:rPr>
              <a:t>Объекты культурного наследия (О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entury Gothic" panose="020B0502020202020204"/>
                <a:ea typeface="Calibri" panose="020F0502020204030204" pitchFamily="34" charset="0"/>
                <a:cs typeface="Times New Roman" panose="02020603050405020304" pitchFamily="18" charset="0"/>
              </a:rPr>
              <a:t>КН)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Century Gothic" panose="020B0502020202020204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entury Gothic" panose="020B0502020202020204"/>
                <a:ea typeface="Calibri" panose="020F0502020204030204" pitchFamily="34" charset="0"/>
                <a:cs typeface="Times New Roman" panose="02020603050405020304" pitchFamily="18" charset="0"/>
              </a:rPr>
              <a:t>Творцы и таланты, включая детские коллективы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600" dirty="0" smtClean="0">
                <a:solidFill>
                  <a:schemeClr val="bg1">
                    <a:lumMod val="85000"/>
                  </a:schemeClr>
                </a:solidFill>
                <a:latin typeface="Century Gothic" panose="020B0502020202020204"/>
                <a:ea typeface="Calibri" panose="020F0502020204030204" pitchFamily="34" charset="0"/>
                <a:cs typeface="Times New Roman" panose="02020603050405020304" pitchFamily="18" charset="0"/>
              </a:rPr>
              <a:t>Произведения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entury Gothic" panose="020B05020202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entury Gothic" panose="020B0502020202020204"/>
                <a:ea typeface="Calibri" panose="020F0502020204030204" pitchFamily="34" charset="0"/>
                <a:cs typeface="Times New Roman" panose="02020603050405020304" pitchFamily="18" charset="0"/>
              </a:rPr>
              <a:t>культуры и искусства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entury Gothic" panose="020B0502020202020204"/>
                <a:ea typeface="Calibri" panose="020F0502020204030204" pitchFamily="34" charset="0"/>
                <a:cs typeface="Times New Roman" panose="02020603050405020304" pitchFamily="18" charset="0"/>
              </a:rPr>
              <a:t>Объекты культуры (здания), не относящиеся к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entury Gothic" panose="020B0502020202020204"/>
                <a:ea typeface="Calibri" panose="020F0502020204030204" pitchFamily="34" charset="0"/>
                <a:cs typeface="Times New Roman" panose="02020603050405020304" pitchFamily="18" charset="0"/>
              </a:rPr>
              <a:t>ОКН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600" dirty="0" smtClean="0">
                <a:solidFill>
                  <a:schemeClr val="bg1">
                    <a:lumMod val="85000"/>
                  </a:schemeClr>
                </a:solidFill>
                <a:latin typeface="Century Gothic" panose="020B0502020202020204"/>
                <a:ea typeface="Calibri" panose="020F0502020204030204" pitchFamily="34" charset="0"/>
                <a:cs typeface="Times New Roman" panose="02020603050405020304" pitchFamily="18" charset="0"/>
              </a:rPr>
              <a:t>Креативные кластеры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Century Gothic" panose="020B050202020202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Rectangle 14">
            <a:extLst>
              <a:ext uri="{FF2B5EF4-FFF2-40B4-BE49-F238E27FC236}">
                <a16:creationId xmlns:a16="http://schemas.microsoft.com/office/drawing/2014/main" id="{103F7E39-E79C-46C1-8692-7C5FE5540D28}"/>
              </a:ext>
            </a:extLst>
          </p:cNvPr>
          <p:cNvSpPr/>
          <p:nvPr/>
        </p:nvSpPr>
        <p:spPr>
          <a:xfrm>
            <a:off x="1779261" y="2869294"/>
            <a:ext cx="1536528" cy="1469705"/>
          </a:xfrm>
          <a:custGeom>
            <a:avLst/>
            <a:gdLst/>
            <a:ahLst/>
            <a:cxnLst/>
            <a:rect l="l" t="t" r="r" b="b"/>
            <a:pathLst>
              <a:path w="3942192" h="3931865">
                <a:moveTo>
                  <a:pt x="2826148" y="3448804"/>
                </a:moveTo>
                <a:lnTo>
                  <a:pt x="2826148" y="3556804"/>
                </a:lnTo>
                <a:lnTo>
                  <a:pt x="3042148" y="3556804"/>
                </a:lnTo>
                <a:lnTo>
                  <a:pt x="3042148" y="3448804"/>
                </a:lnTo>
                <a:close/>
                <a:moveTo>
                  <a:pt x="890988" y="3448804"/>
                </a:moveTo>
                <a:lnTo>
                  <a:pt x="890988" y="3556804"/>
                </a:lnTo>
                <a:lnTo>
                  <a:pt x="1106988" y="3556804"/>
                </a:lnTo>
                <a:lnTo>
                  <a:pt x="1106988" y="3448804"/>
                </a:lnTo>
                <a:close/>
                <a:moveTo>
                  <a:pt x="3528192" y="3439467"/>
                </a:moveTo>
                <a:lnTo>
                  <a:pt x="3528192" y="3547467"/>
                </a:lnTo>
                <a:lnTo>
                  <a:pt x="3744192" y="3547467"/>
                </a:lnTo>
                <a:lnTo>
                  <a:pt x="3744192" y="3439467"/>
                </a:lnTo>
                <a:close/>
                <a:moveTo>
                  <a:pt x="198000" y="3439467"/>
                </a:moveTo>
                <a:lnTo>
                  <a:pt x="198000" y="3547467"/>
                </a:lnTo>
                <a:lnTo>
                  <a:pt x="414000" y="3547467"/>
                </a:lnTo>
                <a:lnTo>
                  <a:pt x="414000" y="3439467"/>
                </a:lnTo>
                <a:close/>
                <a:moveTo>
                  <a:pt x="2826148" y="3206154"/>
                </a:moveTo>
                <a:lnTo>
                  <a:pt x="2826148" y="3314154"/>
                </a:lnTo>
                <a:lnTo>
                  <a:pt x="3042148" y="3314154"/>
                </a:lnTo>
                <a:lnTo>
                  <a:pt x="3042148" y="3206154"/>
                </a:lnTo>
                <a:close/>
                <a:moveTo>
                  <a:pt x="890988" y="3206154"/>
                </a:moveTo>
                <a:lnTo>
                  <a:pt x="890988" y="3314154"/>
                </a:lnTo>
                <a:lnTo>
                  <a:pt x="1106988" y="3314154"/>
                </a:lnTo>
                <a:lnTo>
                  <a:pt x="1106988" y="3206154"/>
                </a:lnTo>
                <a:close/>
                <a:moveTo>
                  <a:pt x="3528192" y="3196817"/>
                </a:moveTo>
                <a:lnTo>
                  <a:pt x="3528192" y="3304817"/>
                </a:lnTo>
                <a:lnTo>
                  <a:pt x="3744192" y="3304817"/>
                </a:lnTo>
                <a:lnTo>
                  <a:pt x="3744192" y="3196817"/>
                </a:lnTo>
                <a:close/>
                <a:moveTo>
                  <a:pt x="198000" y="3196817"/>
                </a:moveTo>
                <a:lnTo>
                  <a:pt x="198000" y="3304817"/>
                </a:lnTo>
                <a:lnTo>
                  <a:pt x="414000" y="3304817"/>
                </a:lnTo>
                <a:lnTo>
                  <a:pt x="414000" y="3196817"/>
                </a:lnTo>
                <a:close/>
                <a:moveTo>
                  <a:pt x="2070064" y="3046635"/>
                </a:moveTo>
                <a:lnTo>
                  <a:pt x="2070064" y="3154635"/>
                </a:lnTo>
                <a:lnTo>
                  <a:pt x="2286064" y="3154635"/>
                </a:lnTo>
                <a:lnTo>
                  <a:pt x="2286064" y="3046635"/>
                </a:lnTo>
                <a:close/>
                <a:moveTo>
                  <a:pt x="1638016" y="3037298"/>
                </a:moveTo>
                <a:lnTo>
                  <a:pt x="1638016" y="3145298"/>
                </a:lnTo>
                <a:lnTo>
                  <a:pt x="1854016" y="3145298"/>
                </a:lnTo>
                <a:lnTo>
                  <a:pt x="1854016" y="3037298"/>
                </a:lnTo>
                <a:close/>
                <a:moveTo>
                  <a:pt x="2826148" y="2963504"/>
                </a:moveTo>
                <a:lnTo>
                  <a:pt x="2826148" y="3071504"/>
                </a:lnTo>
                <a:lnTo>
                  <a:pt x="3042148" y="3071504"/>
                </a:lnTo>
                <a:lnTo>
                  <a:pt x="3042148" y="2963504"/>
                </a:lnTo>
                <a:close/>
                <a:moveTo>
                  <a:pt x="890988" y="2963504"/>
                </a:moveTo>
                <a:lnTo>
                  <a:pt x="890988" y="3071504"/>
                </a:lnTo>
                <a:lnTo>
                  <a:pt x="1106988" y="3071504"/>
                </a:lnTo>
                <a:lnTo>
                  <a:pt x="1106988" y="2963504"/>
                </a:lnTo>
                <a:close/>
                <a:moveTo>
                  <a:pt x="3528192" y="2954167"/>
                </a:moveTo>
                <a:lnTo>
                  <a:pt x="3528192" y="3062167"/>
                </a:lnTo>
                <a:lnTo>
                  <a:pt x="3744192" y="3062167"/>
                </a:lnTo>
                <a:lnTo>
                  <a:pt x="3744192" y="2954167"/>
                </a:lnTo>
                <a:close/>
                <a:moveTo>
                  <a:pt x="198000" y="2954167"/>
                </a:moveTo>
                <a:lnTo>
                  <a:pt x="198000" y="3062167"/>
                </a:lnTo>
                <a:lnTo>
                  <a:pt x="414000" y="3062167"/>
                </a:lnTo>
                <a:lnTo>
                  <a:pt x="414000" y="2954167"/>
                </a:lnTo>
                <a:close/>
                <a:moveTo>
                  <a:pt x="2070064" y="2803981"/>
                </a:moveTo>
                <a:lnTo>
                  <a:pt x="2070064" y="2911981"/>
                </a:lnTo>
                <a:lnTo>
                  <a:pt x="2286064" y="2911981"/>
                </a:lnTo>
                <a:lnTo>
                  <a:pt x="2286064" y="2803981"/>
                </a:lnTo>
                <a:close/>
                <a:moveTo>
                  <a:pt x="1638016" y="2794644"/>
                </a:moveTo>
                <a:lnTo>
                  <a:pt x="1638016" y="2902644"/>
                </a:lnTo>
                <a:lnTo>
                  <a:pt x="1854016" y="2902644"/>
                </a:lnTo>
                <a:lnTo>
                  <a:pt x="1854016" y="2794644"/>
                </a:lnTo>
                <a:close/>
                <a:moveTo>
                  <a:pt x="2826148" y="2720854"/>
                </a:moveTo>
                <a:lnTo>
                  <a:pt x="2826148" y="2828854"/>
                </a:lnTo>
                <a:lnTo>
                  <a:pt x="3042148" y="2828854"/>
                </a:lnTo>
                <a:lnTo>
                  <a:pt x="3042148" y="2720854"/>
                </a:lnTo>
                <a:close/>
                <a:moveTo>
                  <a:pt x="890988" y="2720854"/>
                </a:moveTo>
                <a:lnTo>
                  <a:pt x="890988" y="2828854"/>
                </a:lnTo>
                <a:lnTo>
                  <a:pt x="1106988" y="2828854"/>
                </a:lnTo>
                <a:lnTo>
                  <a:pt x="1106988" y="2720854"/>
                </a:lnTo>
                <a:close/>
                <a:moveTo>
                  <a:pt x="3528192" y="2711517"/>
                </a:moveTo>
                <a:lnTo>
                  <a:pt x="3528192" y="2819517"/>
                </a:lnTo>
                <a:lnTo>
                  <a:pt x="3744192" y="2819517"/>
                </a:lnTo>
                <a:lnTo>
                  <a:pt x="3744192" y="2711517"/>
                </a:lnTo>
                <a:close/>
                <a:moveTo>
                  <a:pt x="198000" y="2711517"/>
                </a:moveTo>
                <a:lnTo>
                  <a:pt x="198000" y="2819517"/>
                </a:lnTo>
                <a:lnTo>
                  <a:pt x="414000" y="2819517"/>
                </a:lnTo>
                <a:lnTo>
                  <a:pt x="414000" y="2711517"/>
                </a:lnTo>
                <a:close/>
                <a:moveTo>
                  <a:pt x="2070064" y="2561331"/>
                </a:moveTo>
                <a:lnTo>
                  <a:pt x="2070064" y="2669331"/>
                </a:lnTo>
                <a:lnTo>
                  <a:pt x="2286064" y="2669331"/>
                </a:lnTo>
                <a:lnTo>
                  <a:pt x="2286064" y="2561331"/>
                </a:lnTo>
                <a:close/>
                <a:moveTo>
                  <a:pt x="1638016" y="2551994"/>
                </a:moveTo>
                <a:lnTo>
                  <a:pt x="1638016" y="2659994"/>
                </a:lnTo>
                <a:lnTo>
                  <a:pt x="1854016" y="2659994"/>
                </a:lnTo>
                <a:lnTo>
                  <a:pt x="1854016" y="2551994"/>
                </a:lnTo>
                <a:close/>
                <a:moveTo>
                  <a:pt x="2826148" y="2478204"/>
                </a:moveTo>
                <a:lnTo>
                  <a:pt x="2826148" y="2586204"/>
                </a:lnTo>
                <a:lnTo>
                  <a:pt x="3042148" y="2586204"/>
                </a:lnTo>
                <a:lnTo>
                  <a:pt x="3042148" y="2478204"/>
                </a:lnTo>
                <a:close/>
                <a:moveTo>
                  <a:pt x="890988" y="2478204"/>
                </a:moveTo>
                <a:lnTo>
                  <a:pt x="890988" y="2586204"/>
                </a:lnTo>
                <a:lnTo>
                  <a:pt x="1106988" y="2586204"/>
                </a:lnTo>
                <a:lnTo>
                  <a:pt x="1106988" y="2478204"/>
                </a:lnTo>
                <a:close/>
                <a:moveTo>
                  <a:pt x="3528192" y="2468867"/>
                </a:moveTo>
                <a:lnTo>
                  <a:pt x="3528192" y="2576867"/>
                </a:lnTo>
                <a:lnTo>
                  <a:pt x="3744192" y="2576867"/>
                </a:lnTo>
                <a:lnTo>
                  <a:pt x="3744192" y="2468867"/>
                </a:lnTo>
                <a:close/>
                <a:moveTo>
                  <a:pt x="198000" y="2468867"/>
                </a:moveTo>
                <a:lnTo>
                  <a:pt x="198000" y="2576867"/>
                </a:lnTo>
                <a:lnTo>
                  <a:pt x="414000" y="2576867"/>
                </a:lnTo>
                <a:lnTo>
                  <a:pt x="414000" y="2468867"/>
                </a:lnTo>
                <a:close/>
                <a:moveTo>
                  <a:pt x="2070064" y="2318681"/>
                </a:moveTo>
                <a:lnTo>
                  <a:pt x="2070064" y="2426681"/>
                </a:lnTo>
                <a:lnTo>
                  <a:pt x="2286064" y="2426681"/>
                </a:lnTo>
                <a:lnTo>
                  <a:pt x="2286064" y="2318681"/>
                </a:lnTo>
                <a:close/>
                <a:moveTo>
                  <a:pt x="1638016" y="2309344"/>
                </a:moveTo>
                <a:lnTo>
                  <a:pt x="1638016" y="2417344"/>
                </a:lnTo>
                <a:lnTo>
                  <a:pt x="1854016" y="2417344"/>
                </a:lnTo>
                <a:lnTo>
                  <a:pt x="1854016" y="2309344"/>
                </a:lnTo>
                <a:close/>
                <a:moveTo>
                  <a:pt x="2826148" y="2235554"/>
                </a:moveTo>
                <a:lnTo>
                  <a:pt x="2826148" y="2343554"/>
                </a:lnTo>
                <a:lnTo>
                  <a:pt x="3042148" y="2343554"/>
                </a:lnTo>
                <a:lnTo>
                  <a:pt x="3042148" y="2235554"/>
                </a:lnTo>
                <a:close/>
                <a:moveTo>
                  <a:pt x="890988" y="2235554"/>
                </a:moveTo>
                <a:lnTo>
                  <a:pt x="890988" y="2343554"/>
                </a:lnTo>
                <a:lnTo>
                  <a:pt x="1106988" y="2343554"/>
                </a:lnTo>
                <a:lnTo>
                  <a:pt x="1106988" y="2235554"/>
                </a:lnTo>
                <a:close/>
                <a:moveTo>
                  <a:pt x="3528192" y="2226217"/>
                </a:moveTo>
                <a:lnTo>
                  <a:pt x="3528192" y="2334217"/>
                </a:lnTo>
                <a:lnTo>
                  <a:pt x="3744192" y="2334217"/>
                </a:lnTo>
                <a:lnTo>
                  <a:pt x="3744192" y="2226217"/>
                </a:lnTo>
                <a:close/>
                <a:moveTo>
                  <a:pt x="198000" y="2226217"/>
                </a:moveTo>
                <a:lnTo>
                  <a:pt x="198000" y="2334217"/>
                </a:lnTo>
                <a:lnTo>
                  <a:pt x="414000" y="2334217"/>
                </a:lnTo>
                <a:lnTo>
                  <a:pt x="414000" y="2226217"/>
                </a:lnTo>
                <a:close/>
                <a:moveTo>
                  <a:pt x="2070064" y="2076031"/>
                </a:moveTo>
                <a:lnTo>
                  <a:pt x="2070064" y="2184031"/>
                </a:lnTo>
                <a:lnTo>
                  <a:pt x="2286064" y="2184031"/>
                </a:lnTo>
                <a:lnTo>
                  <a:pt x="2286064" y="2076031"/>
                </a:lnTo>
                <a:close/>
                <a:moveTo>
                  <a:pt x="1638016" y="2066694"/>
                </a:moveTo>
                <a:lnTo>
                  <a:pt x="1638016" y="2174694"/>
                </a:lnTo>
                <a:lnTo>
                  <a:pt x="1854016" y="2174694"/>
                </a:lnTo>
                <a:lnTo>
                  <a:pt x="1854016" y="2066694"/>
                </a:lnTo>
                <a:close/>
                <a:moveTo>
                  <a:pt x="2826148" y="1992904"/>
                </a:moveTo>
                <a:lnTo>
                  <a:pt x="2826148" y="2100904"/>
                </a:lnTo>
                <a:lnTo>
                  <a:pt x="3042148" y="2100904"/>
                </a:lnTo>
                <a:lnTo>
                  <a:pt x="3042148" y="1992904"/>
                </a:lnTo>
                <a:close/>
                <a:moveTo>
                  <a:pt x="890988" y="1992904"/>
                </a:moveTo>
                <a:lnTo>
                  <a:pt x="890988" y="2100904"/>
                </a:lnTo>
                <a:lnTo>
                  <a:pt x="1106988" y="2100904"/>
                </a:lnTo>
                <a:lnTo>
                  <a:pt x="1106988" y="1992904"/>
                </a:lnTo>
                <a:close/>
                <a:moveTo>
                  <a:pt x="3528192" y="1983567"/>
                </a:moveTo>
                <a:lnTo>
                  <a:pt x="3528192" y="2091567"/>
                </a:lnTo>
                <a:lnTo>
                  <a:pt x="3744192" y="2091567"/>
                </a:lnTo>
                <a:lnTo>
                  <a:pt x="3744192" y="1983567"/>
                </a:lnTo>
                <a:close/>
                <a:moveTo>
                  <a:pt x="198000" y="1983567"/>
                </a:moveTo>
                <a:lnTo>
                  <a:pt x="198000" y="2091567"/>
                </a:lnTo>
                <a:lnTo>
                  <a:pt x="414000" y="2091567"/>
                </a:lnTo>
                <a:lnTo>
                  <a:pt x="414000" y="1983567"/>
                </a:lnTo>
                <a:close/>
                <a:moveTo>
                  <a:pt x="2070064" y="1833381"/>
                </a:moveTo>
                <a:lnTo>
                  <a:pt x="2070064" y="1941381"/>
                </a:lnTo>
                <a:lnTo>
                  <a:pt x="2286064" y="1941381"/>
                </a:lnTo>
                <a:lnTo>
                  <a:pt x="2286064" y="1833381"/>
                </a:lnTo>
                <a:close/>
                <a:moveTo>
                  <a:pt x="1638016" y="1824044"/>
                </a:moveTo>
                <a:lnTo>
                  <a:pt x="1638016" y="1932044"/>
                </a:lnTo>
                <a:lnTo>
                  <a:pt x="1854016" y="1932044"/>
                </a:lnTo>
                <a:lnTo>
                  <a:pt x="1854016" y="1824044"/>
                </a:lnTo>
                <a:close/>
                <a:moveTo>
                  <a:pt x="2826148" y="1750254"/>
                </a:moveTo>
                <a:lnTo>
                  <a:pt x="2826148" y="1858254"/>
                </a:lnTo>
                <a:lnTo>
                  <a:pt x="3042148" y="1858254"/>
                </a:lnTo>
                <a:lnTo>
                  <a:pt x="3042148" y="1750254"/>
                </a:lnTo>
                <a:close/>
                <a:moveTo>
                  <a:pt x="890988" y="1750254"/>
                </a:moveTo>
                <a:lnTo>
                  <a:pt x="890988" y="1858254"/>
                </a:lnTo>
                <a:lnTo>
                  <a:pt x="1106988" y="1858254"/>
                </a:lnTo>
                <a:lnTo>
                  <a:pt x="1106988" y="1750254"/>
                </a:lnTo>
                <a:close/>
                <a:moveTo>
                  <a:pt x="3528192" y="1740917"/>
                </a:moveTo>
                <a:lnTo>
                  <a:pt x="3528192" y="1848917"/>
                </a:lnTo>
                <a:lnTo>
                  <a:pt x="3744192" y="1848917"/>
                </a:lnTo>
                <a:lnTo>
                  <a:pt x="3744192" y="1740917"/>
                </a:lnTo>
                <a:close/>
                <a:moveTo>
                  <a:pt x="198000" y="1740917"/>
                </a:moveTo>
                <a:lnTo>
                  <a:pt x="198000" y="1848917"/>
                </a:lnTo>
                <a:lnTo>
                  <a:pt x="414000" y="1848917"/>
                </a:lnTo>
                <a:lnTo>
                  <a:pt x="414000" y="1740917"/>
                </a:lnTo>
                <a:close/>
                <a:moveTo>
                  <a:pt x="2070064" y="1590731"/>
                </a:moveTo>
                <a:lnTo>
                  <a:pt x="2070064" y="1698731"/>
                </a:lnTo>
                <a:lnTo>
                  <a:pt x="2286064" y="1698731"/>
                </a:lnTo>
                <a:lnTo>
                  <a:pt x="2286064" y="1590731"/>
                </a:lnTo>
                <a:close/>
                <a:moveTo>
                  <a:pt x="1638016" y="1581394"/>
                </a:moveTo>
                <a:lnTo>
                  <a:pt x="1638016" y="1689394"/>
                </a:lnTo>
                <a:lnTo>
                  <a:pt x="1854016" y="1689394"/>
                </a:lnTo>
                <a:lnTo>
                  <a:pt x="1854016" y="1581394"/>
                </a:lnTo>
                <a:close/>
                <a:moveTo>
                  <a:pt x="3330192" y="1507604"/>
                </a:moveTo>
                <a:lnTo>
                  <a:pt x="3942192" y="1507604"/>
                </a:lnTo>
                <a:lnTo>
                  <a:pt x="3942192" y="3931865"/>
                </a:lnTo>
                <a:lnTo>
                  <a:pt x="3330192" y="3931865"/>
                </a:lnTo>
                <a:close/>
                <a:moveTo>
                  <a:pt x="2826148" y="1507604"/>
                </a:moveTo>
                <a:lnTo>
                  <a:pt x="2826148" y="1615604"/>
                </a:lnTo>
                <a:lnTo>
                  <a:pt x="3042148" y="1615604"/>
                </a:lnTo>
                <a:lnTo>
                  <a:pt x="3042148" y="1507604"/>
                </a:lnTo>
                <a:close/>
                <a:moveTo>
                  <a:pt x="890988" y="1507604"/>
                </a:moveTo>
                <a:lnTo>
                  <a:pt x="890988" y="1615604"/>
                </a:lnTo>
                <a:lnTo>
                  <a:pt x="1106988" y="1615604"/>
                </a:lnTo>
                <a:lnTo>
                  <a:pt x="1106988" y="1507604"/>
                </a:lnTo>
                <a:close/>
                <a:moveTo>
                  <a:pt x="0" y="1507604"/>
                </a:moveTo>
                <a:lnTo>
                  <a:pt x="612000" y="1507604"/>
                </a:lnTo>
                <a:lnTo>
                  <a:pt x="612000" y="3931865"/>
                </a:lnTo>
                <a:lnTo>
                  <a:pt x="0" y="3931865"/>
                </a:lnTo>
                <a:close/>
                <a:moveTo>
                  <a:pt x="2070064" y="1348081"/>
                </a:moveTo>
                <a:lnTo>
                  <a:pt x="2070064" y="1456081"/>
                </a:lnTo>
                <a:lnTo>
                  <a:pt x="2286064" y="1456081"/>
                </a:lnTo>
                <a:lnTo>
                  <a:pt x="2286064" y="1348081"/>
                </a:lnTo>
                <a:close/>
                <a:moveTo>
                  <a:pt x="1638016" y="1338744"/>
                </a:moveTo>
                <a:lnTo>
                  <a:pt x="1638016" y="1446744"/>
                </a:lnTo>
                <a:lnTo>
                  <a:pt x="1854016" y="1446744"/>
                </a:lnTo>
                <a:lnTo>
                  <a:pt x="1854016" y="1338744"/>
                </a:lnTo>
                <a:close/>
                <a:moveTo>
                  <a:pt x="2628148" y="1267865"/>
                </a:moveTo>
                <a:lnTo>
                  <a:pt x="3240148" y="1267865"/>
                </a:lnTo>
                <a:lnTo>
                  <a:pt x="3240148" y="3931865"/>
                </a:lnTo>
                <a:lnTo>
                  <a:pt x="2628148" y="3931865"/>
                </a:lnTo>
                <a:close/>
                <a:moveTo>
                  <a:pt x="692988" y="1267865"/>
                </a:moveTo>
                <a:lnTo>
                  <a:pt x="1304988" y="1267865"/>
                </a:lnTo>
                <a:lnTo>
                  <a:pt x="1304988" y="3931865"/>
                </a:lnTo>
                <a:lnTo>
                  <a:pt x="692988" y="3931865"/>
                </a:lnTo>
                <a:close/>
                <a:moveTo>
                  <a:pt x="2070064" y="1105431"/>
                </a:moveTo>
                <a:lnTo>
                  <a:pt x="2070064" y="1213431"/>
                </a:lnTo>
                <a:lnTo>
                  <a:pt x="2286064" y="1213431"/>
                </a:lnTo>
                <a:lnTo>
                  <a:pt x="2286064" y="1105431"/>
                </a:lnTo>
                <a:close/>
                <a:moveTo>
                  <a:pt x="1638016" y="1096094"/>
                </a:moveTo>
                <a:lnTo>
                  <a:pt x="1638016" y="1204094"/>
                </a:lnTo>
                <a:lnTo>
                  <a:pt x="1854016" y="1204094"/>
                </a:lnTo>
                <a:lnTo>
                  <a:pt x="1854016" y="1096094"/>
                </a:lnTo>
                <a:close/>
                <a:moveTo>
                  <a:pt x="2070064" y="862781"/>
                </a:moveTo>
                <a:lnTo>
                  <a:pt x="2070064" y="970781"/>
                </a:lnTo>
                <a:lnTo>
                  <a:pt x="2286064" y="970781"/>
                </a:lnTo>
                <a:lnTo>
                  <a:pt x="2286064" y="862781"/>
                </a:lnTo>
                <a:close/>
                <a:moveTo>
                  <a:pt x="1638016" y="853444"/>
                </a:moveTo>
                <a:lnTo>
                  <a:pt x="1638016" y="961444"/>
                </a:lnTo>
                <a:lnTo>
                  <a:pt x="1854016" y="961444"/>
                </a:lnTo>
                <a:lnTo>
                  <a:pt x="1854016" y="853444"/>
                </a:lnTo>
                <a:close/>
                <a:moveTo>
                  <a:pt x="1883174" y="0"/>
                </a:moveTo>
                <a:lnTo>
                  <a:pt x="2040907" y="0"/>
                </a:lnTo>
                <a:lnTo>
                  <a:pt x="2040907" y="355600"/>
                </a:lnTo>
                <a:lnTo>
                  <a:pt x="2178064" y="355600"/>
                </a:lnTo>
                <a:lnTo>
                  <a:pt x="2178064" y="596007"/>
                </a:lnTo>
                <a:lnTo>
                  <a:pt x="2538104" y="596007"/>
                </a:lnTo>
                <a:lnTo>
                  <a:pt x="2538104" y="3931865"/>
                </a:lnTo>
                <a:lnTo>
                  <a:pt x="2142040" y="3931865"/>
                </a:lnTo>
                <a:lnTo>
                  <a:pt x="2142040" y="3291036"/>
                </a:lnTo>
                <a:lnTo>
                  <a:pt x="1782040" y="3291036"/>
                </a:lnTo>
                <a:lnTo>
                  <a:pt x="1782040" y="3931865"/>
                </a:lnTo>
                <a:lnTo>
                  <a:pt x="1385976" y="3931865"/>
                </a:lnTo>
                <a:lnTo>
                  <a:pt x="1385976" y="596007"/>
                </a:lnTo>
                <a:lnTo>
                  <a:pt x="1746016" y="596007"/>
                </a:lnTo>
                <a:lnTo>
                  <a:pt x="1746016" y="355600"/>
                </a:lnTo>
                <a:lnTo>
                  <a:pt x="1883174" y="355600"/>
                </a:lnTo>
                <a:close/>
              </a:path>
            </a:pathLst>
          </a:custGeom>
          <a:solidFill>
            <a:schemeClr val="bg1">
              <a:lumMod val="5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134675" y="2625492"/>
            <a:ext cx="21852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spcAft>
                <a:spcPts val="600"/>
              </a:spcAft>
              <a:defRPr/>
            </a:pPr>
            <a:r>
              <a:rPr lang="ru-RU" sz="1600" b="1" dirty="0">
                <a:solidFill>
                  <a:schemeClr val="bg1">
                    <a:lumMod val="8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БЪЕКТЫ КУЛЬТУРЫ</a:t>
            </a:r>
            <a:endParaRPr lang="ru-RU" sz="1000" b="1" dirty="0">
              <a:solidFill>
                <a:schemeClr val="bg1">
                  <a:lumMod val="85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Шеврон 4">
            <a:extLst>
              <a:ext uri="{FF2B5EF4-FFF2-40B4-BE49-F238E27FC236}">
                <a16:creationId xmlns:a16="http://schemas.microsoft.com/office/drawing/2014/main" id="{F6EDB797-A226-489C-8E9F-78B0D364B050}"/>
              </a:ext>
            </a:extLst>
          </p:cNvPr>
          <p:cNvSpPr/>
          <p:nvPr/>
        </p:nvSpPr>
        <p:spPr>
          <a:xfrm>
            <a:off x="5469851" y="1015254"/>
            <a:ext cx="383365" cy="1092633"/>
          </a:xfrm>
          <a:prstGeom prst="chevron">
            <a:avLst>
              <a:gd name="adj" fmla="val 84615"/>
            </a:avLst>
          </a:prstGeom>
          <a:solidFill>
            <a:srgbClr val="1BCC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-123290" y="947671"/>
            <a:ext cx="534163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457200">
              <a:defRPr/>
            </a:pPr>
            <a:r>
              <a:rPr lang="ru-RU" sz="2400" b="1" dirty="0" smtClean="0">
                <a:solidFill>
                  <a:srgbClr val="1BCCB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Увеличить общий </a:t>
            </a:r>
            <a:r>
              <a:rPr lang="ru-RU" sz="2400" b="1" dirty="0">
                <a:solidFill>
                  <a:srgbClr val="1BCCB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бъем частных инвестиций</a:t>
            </a:r>
            <a:r>
              <a:rPr lang="ru-RU" sz="2000" dirty="0">
                <a:solidFill>
                  <a:srgbClr val="1BCCB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dirty="0">
                <a:solidFill>
                  <a:srgbClr val="1BCCB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в развитие/ сохранение объектов культуры</a:t>
            </a:r>
            <a:endParaRPr lang="ru-RU" sz="2000" dirty="0">
              <a:solidFill>
                <a:srgbClr val="1BCCB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6118517" y="931571"/>
            <a:ext cx="1260000" cy="1260000"/>
          </a:xfrm>
          <a:prstGeom prst="ellipse">
            <a:avLst/>
          </a:prstGeom>
          <a:noFill/>
          <a:ln w="762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Овал 16"/>
          <p:cNvSpPr/>
          <p:nvPr/>
        </p:nvSpPr>
        <p:spPr>
          <a:xfrm>
            <a:off x="8234588" y="931571"/>
            <a:ext cx="1260000" cy="1260000"/>
          </a:xfrm>
          <a:prstGeom prst="ellipse">
            <a:avLst/>
          </a:prstGeom>
          <a:noFill/>
          <a:ln w="76200">
            <a:solidFill>
              <a:srgbClr val="1BCC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/>
          <p:cNvSpPr/>
          <p:nvPr/>
        </p:nvSpPr>
        <p:spPr>
          <a:xfrm>
            <a:off x="10350659" y="931571"/>
            <a:ext cx="1260000" cy="1260000"/>
          </a:xfrm>
          <a:prstGeom prst="ellipse">
            <a:avLst/>
          </a:prstGeom>
          <a:noFill/>
          <a:ln w="76200">
            <a:solidFill>
              <a:srgbClr val="1BCC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5963624" y="388185"/>
            <a:ext cx="141489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457200">
              <a:defRPr/>
            </a:pPr>
            <a:r>
              <a:rPr lang="ru-RU" sz="2400" dirty="0" smtClean="0">
                <a:solidFill>
                  <a:schemeClr val="bg1">
                    <a:lumMod val="8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020 г.</a:t>
            </a:r>
            <a:endParaRPr lang="ru-RU" sz="2000" dirty="0">
              <a:solidFill>
                <a:schemeClr val="bg1">
                  <a:lumMod val="85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8119482" y="388185"/>
            <a:ext cx="141489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457200">
              <a:defRPr/>
            </a:pPr>
            <a:r>
              <a:rPr lang="ru-RU" sz="2400" dirty="0" smtClean="0">
                <a:solidFill>
                  <a:srgbClr val="1BCCB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024 г.</a:t>
            </a:r>
            <a:endParaRPr lang="ru-RU" sz="2000" dirty="0">
              <a:solidFill>
                <a:srgbClr val="1BCCB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10203422" y="388185"/>
            <a:ext cx="141489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457200">
              <a:defRPr/>
            </a:pPr>
            <a:r>
              <a:rPr lang="ru-RU" sz="2400" dirty="0" smtClean="0">
                <a:solidFill>
                  <a:srgbClr val="1BCCB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030 г.</a:t>
            </a:r>
            <a:endParaRPr lang="ru-RU" sz="2000" dirty="0">
              <a:solidFill>
                <a:srgbClr val="1BCCB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8" name="Прямая со стрелкой 7"/>
          <p:cNvCxnSpPr>
            <a:stCxn id="6" idx="6"/>
            <a:endCxn id="17" idx="2"/>
          </p:cNvCxnSpPr>
          <p:nvPr/>
        </p:nvCxnSpPr>
        <p:spPr>
          <a:xfrm>
            <a:off x="7564938" y="1561571"/>
            <a:ext cx="483229" cy="0"/>
          </a:xfrm>
          <a:prstGeom prst="straightConnector1">
            <a:avLst/>
          </a:prstGeom>
          <a:ln>
            <a:solidFill>
              <a:srgbClr val="1BCCB3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>
            <a:off x="9720193" y="1547835"/>
            <a:ext cx="483229" cy="0"/>
          </a:xfrm>
          <a:prstGeom prst="straightConnector1">
            <a:avLst/>
          </a:prstGeom>
          <a:ln>
            <a:solidFill>
              <a:srgbClr val="1BCCB3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6219203" y="1245551"/>
            <a:ext cx="1058628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>
                    <a:lumMod val="85000"/>
                  </a:schemeClr>
                </a:solidFill>
              </a:rPr>
              <a:t>25,2</a:t>
            </a:r>
          </a:p>
          <a:p>
            <a:pPr algn="ctr"/>
            <a:r>
              <a:rPr lang="ru-RU" sz="1400" dirty="0" smtClean="0">
                <a:solidFill>
                  <a:schemeClr val="bg1">
                    <a:lumMod val="85000"/>
                  </a:schemeClr>
                </a:solidFill>
              </a:rPr>
              <a:t>Млрд Р</a:t>
            </a:r>
            <a:endParaRPr lang="ru-RU" sz="14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374924" y="1209281"/>
            <a:ext cx="1058628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>
                    <a:lumMod val="85000"/>
                  </a:schemeClr>
                </a:solidFill>
              </a:rPr>
              <a:t>&gt;</a:t>
            </a:r>
            <a:r>
              <a:rPr lang="ru-RU" sz="2400" b="1" dirty="0" smtClean="0">
                <a:solidFill>
                  <a:schemeClr val="bg1">
                    <a:lumMod val="85000"/>
                  </a:schemeClr>
                </a:solidFill>
              </a:rPr>
              <a:t>100</a:t>
            </a:r>
          </a:p>
          <a:p>
            <a:pPr algn="ctr"/>
            <a:r>
              <a:rPr lang="ru-RU" sz="1400" dirty="0" smtClean="0">
                <a:solidFill>
                  <a:schemeClr val="bg1">
                    <a:lumMod val="85000"/>
                  </a:schemeClr>
                </a:solidFill>
              </a:rPr>
              <a:t>Млрд Р</a:t>
            </a:r>
            <a:endParaRPr lang="ru-RU" sz="14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0472854" y="1189874"/>
            <a:ext cx="1058628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>
                    <a:lumMod val="85000"/>
                  </a:schemeClr>
                </a:solidFill>
              </a:rPr>
              <a:t>&gt;300</a:t>
            </a:r>
            <a:endParaRPr lang="ru-RU" sz="2400" b="1" dirty="0" smtClean="0">
              <a:solidFill>
                <a:schemeClr val="bg1">
                  <a:lumMod val="85000"/>
                </a:schemeClr>
              </a:solidFill>
            </a:endParaRPr>
          </a:p>
          <a:p>
            <a:pPr algn="ctr"/>
            <a:r>
              <a:rPr lang="ru-RU" sz="1400" dirty="0" smtClean="0">
                <a:solidFill>
                  <a:schemeClr val="bg1">
                    <a:lumMod val="85000"/>
                  </a:schemeClr>
                </a:solidFill>
              </a:rPr>
              <a:t>Млрд Р</a:t>
            </a:r>
            <a:endParaRPr lang="ru-RU" sz="14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1" name="Шеврон 4">
            <a:extLst>
              <a:ext uri="{FF2B5EF4-FFF2-40B4-BE49-F238E27FC236}">
                <a16:creationId xmlns:a16="http://schemas.microsoft.com/office/drawing/2014/main" id="{F6EDB797-A226-489C-8E9F-78B0D364B050}"/>
              </a:ext>
            </a:extLst>
          </p:cNvPr>
          <p:cNvSpPr/>
          <p:nvPr/>
        </p:nvSpPr>
        <p:spPr>
          <a:xfrm>
            <a:off x="7505400" y="5178957"/>
            <a:ext cx="383365" cy="1092633"/>
          </a:xfrm>
          <a:prstGeom prst="chevron">
            <a:avLst>
              <a:gd name="adj" fmla="val 84615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1216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992FC779-CBCA-1C4F-ABBF-572EB2195FA8}"/>
              </a:ext>
            </a:extLst>
          </p:cNvPr>
          <p:cNvSpPr/>
          <p:nvPr/>
        </p:nvSpPr>
        <p:spPr>
          <a:xfrm>
            <a:off x="243508" y="168960"/>
            <a:ext cx="11754528" cy="515122"/>
          </a:xfrm>
          <a:prstGeom prst="rect">
            <a:avLst/>
          </a:prstGeom>
        </p:spPr>
        <p:txBody>
          <a:bodyPr wrap="square" lIns="121485" tIns="60760" rIns="121485" bIns="607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1200" cap="none" spc="0" normalizeH="0" baseline="0" noProof="0" dirty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Ключевые </a:t>
            </a:r>
            <a:r>
              <a:rPr lang="ru-RU" sz="3000" b="1" noProof="0" dirty="0" smtClean="0">
                <a:solidFill>
                  <a:srgbClr val="1BCCB3"/>
                </a:solidFill>
                <a:latin typeface="Century Gothic" panose="020B0502020202020204"/>
              </a:rPr>
              <a:t>задачи</a:t>
            </a:r>
            <a:r>
              <a:rPr lang="en-US" sz="3000" b="1" noProof="0" dirty="0" smtClean="0">
                <a:solidFill>
                  <a:srgbClr val="1BCCB3"/>
                </a:solidFill>
                <a:latin typeface="Century Gothic" panose="020B0502020202020204"/>
              </a:rPr>
              <a:t> </a:t>
            </a:r>
            <a:r>
              <a:rPr lang="ru-RU" sz="3000" b="1" noProof="0" dirty="0" smtClean="0">
                <a:solidFill>
                  <a:srgbClr val="1BCCB3"/>
                </a:solidFill>
                <a:latin typeface="Century Gothic" panose="020B0502020202020204"/>
              </a:rPr>
              <a:t>и результаты проекта</a:t>
            </a:r>
            <a:r>
              <a:rPr kumimoji="0" lang="ru-RU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 </a:t>
            </a:r>
            <a:endParaRPr kumimoji="0" lang="ru-RU" sz="3000" b="1" i="0" u="none" strike="noStrike" kern="1200" cap="none" spc="0" normalizeH="0" baseline="0" noProof="0" dirty="0">
              <a:ln>
                <a:noFill/>
              </a:ln>
              <a:solidFill>
                <a:srgbClr val="1BCCB3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" name="Rounded Rectangle 8">
            <a:extLst>
              <a:ext uri="{FF2B5EF4-FFF2-40B4-BE49-F238E27FC236}">
                <a16:creationId xmlns:a16="http://schemas.microsoft.com/office/drawing/2014/main" id="{C7B57B69-F8FE-4A19-A7DE-6F7A380F8454}"/>
              </a:ext>
            </a:extLst>
          </p:cNvPr>
          <p:cNvSpPr/>
          <p:nvPr/>
        </p:nvSpPr>
        <p:spPr>
          <a:xfrm rot="10800000">
            <a:off x="3343640" y="1072840"/>
            <a:ext cx="2412000" cy="1555390"/>
          </a:xfrm>
          <a:custGeom>
            <a:avLst/>
            <a:gdLst/>
            <a:ahLst/>
            <a:cxnLst/>
            <a:rect l="l" t="t" r="r" b="b"/>
            <a:pathLst>
              <a:path w="1260140" h="1872209">
                <a:moveTo>
                  <a:pt x="630071" y="0"/>
                </a:moveTo>
                <a:lnTo>
                  <a:pt x="799749" y="292548"/>
                </a:lnTo>
                <a:lnTo>
                  <a:pt x="1107260" y="292548"/>
                </a:lnTo>
                <a:cubicBezTo>
                  <a:pt x="1191693" y="292548"/>
                  <a:pt x="1260140" y="360995"/>
                  <a:pt x="1260140" y="445428"/>
                </a:cubicBezTo>
                <a:lnTo>
                  <a:pt x="1260140" y="1719329"/>
                </a:lnTo>
                <a:cubicBezTo>
                  <a:pt x="1260140" y="1803762"/>
                  <a:pt x="1191693" y="1872209"/>
                  <a:pt x="1107260" y="1872209"/>
                </a:cubicBezTo>
                <a:lnTo>
                  <a:pt x="152880" y="1872209"/>
                </a:lnTo>
                <a:cubicBezTo>
                  <a:pt x="68447" y="1872209"/>
                  <a:pt x="0" y="1803762"/>
                  <a:pt x="0" y="1719329"/>
                </a:cubicBezTo>
                <a:lnTo>
                  <a:pt x="0" y="445428"/>
                </a:lnTo>
                <a:cubicBezTo>
                  <a:pt x="0" y="360995"/>
                  <a:pt x="68447" y="292548"/>
                  <a:pt x="152880" y="292548"/>
                </a:cubicBezTo>
                <a:lnTo>
                  <a:pt x="460393" y="292548"/>
                </a:lnTo>
                <a:close/>
              </a:path>
            </a:pathLst>
          </a:custGeom>
          <a:noFill/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405283" y="1186740"/>
            <a:ext cx="241444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Создание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единого портала объектов культуры для потенциальных инвесторов/населения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BCCB3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Овал 4"/>
          <p:cNvSpPr/>
          <p:nvPr/>
        </p:nvSpPr>
        <p:spPr>
          <a:xfrm>
            <a:off x="534541" y="1129779"/>
            <a:ext cx="324000" cy="324000"/>
          </a:xfrm>
          <a:prstGeom prst="ellipse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</a:t>
            </a:r>
          </a:p>
        </p:txBody>
      </p:sp>
      <p:sp>
        <p:nvSpPr>
          <p:cNvPr id="6" name="Овал 5"/>
          <p:cNvSpPr/>
          <p:nvPr/>
        </p:nvSpPr>
        <p:spPr>
          <a:xfrm>
            <a:off x="6392530" y="1129779"/>
            <a:ext cx="324000" cy="324000"/>
          </a:xfrm>
          <a:prstGeom prst="ellipse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3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9360250" y="1129779"/>
            <a:ext cx="324000" cy="324000"/>
          </a:xfrm>
          <a:prstGeom prst="ellipse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4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8" name="Rounded Rectangle 8">
            <a:extLst>
              <a:ext uri="{FF2B5EF4-FFF2-40B4-BE49-F238E27FC236}">
                <a16:creationId xmlns:a16="http://schemas.microsoft.com/office/drawing/2014/main" id="{C7B57B69-F8FE-4A19-A7DE-6F7A380F8454}"/>
              </a:ext>
            </a:extLst>
          </p:cNvPr>
          <p:cNvSpPr/>
          <p:nvPr/>
        </p:nvSpPr>
        <p:spPr>
          <a:xfrm rot="10800000">
            <a:off x="406032" y="1054249"/>
            <a:ext cx="2412000" cy="1555390"/>
          </a:xfrm>
          <a:custGeom>
            <a:avLst/>
            <a:gdLst/>
            <a:ahLst/>
            <a:cxnLst/>
            <a:rect l="l" t="t" r="r" b="b"/>
            <a:pathLst>
              <a:path w="1260140" h="1872209">
                <a:moveTo>
                  <a:pt x="630071" y="0"/>
                </a:moveTo>
                <a:lnTo>
                  <a:pt x="799749" y="292548"/>
                </a:lnTo>
                <a:lnTo>
                  <a:pt x="1107260" y="292548"/>
                </a:lnTo>
                <a:cubicBezTo>
                  <a:pt x="1191693" y="292548"/>
                  <a:pt x="1260140" y="360995"/>
                  <a:pt x="1260140" y="445428"/>
                </a:cubicBezTo>
                <a:lnTo>
                  <a:pt x="1260140" y="1719329"/>
                </a:lnTo>
                <a:cubicBezTo>
                  <a:pt x="1260140" y="1803762"/>
                  <a:pt x="1191693" y="1872209"/>
                  <a:pt x="1107260" y="1872209"/>
                </a:cubicBezTo>
                <a:lnTo>
                  <a:pt x="152880" y="1872209"/>
                </a:lnTo>
                <a:cubicBezTo>
                  <a:pt x="68447" y="1872209"/>
                  <a:pt x="0" y="1803762"/>
                  <a:pt x="0" y="1719329"/>
                </a:cubicBezTo>
                <a:lnTo>
                  <a:pt x="0" y="445428"/>
                </a:lnTo>
                <a:cubicBezTo>
                  <a:pt x="0" y="360995"/>
                  <a:pt x="68447" y="292548"/>
                  <a:pt x="152880" y="292548"/>
                </a:cubicBezTo>
                <a:lnTo>
                  <a:pt x="460393" y="292548"/>
                </a:lnTo>
                <a:close/>
              </a:path>
            </a:pathLst>
          </a:custGeom>
          <a:noFill/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80910" y="1184612"/>
            <a:ext cx="243712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Создание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государственного оператора частных инвестиций в культуру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BCCB3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3417761" y="1129779"/>
            <a:ext cx="324000" cy="324000"/>
          </a:xfrm>
          <a:prstGeom prst="ellipse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2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1" name="Rounded Rectangle 8">
            <a:extLst>
              <a:ext uri="{FF2B5EF4-FFF2-40B4-BE49-F238E27FC236}">
                <a16:creationId xmlns:a16="http://schemas.microsoft.com/office/drawing/2014/main" id="{C7B57B69-F8FE-4A19-A7DE-6F7A380F8454}"/>
              </a:ext>
            </a:extLst>
          </p:cNvPr>
          <p:cNvSpPr/>
          <p:nvPr/>
        </p:nvSpPr>
        <p:spPr>
          <a:xfrm rot="10800000">
            <a:off x="6281248" y="1054249"/>
            <a:ext cx="2412000" cy="1555390"/>
          </a:xfrm>
          <a:custGeom>
            <a:avLst/>
            <a:gdLst/>
            <a:ahLst/>
            <a:cxnLst/>
            <a:rect l="l" t="t" r="r" b="b"/>
            <a:pathLst>
              <a:path w="1260140" h="1872209">
                <a:moveTo>
                  <a:pt x="630071" y="0"/>
                </a:moveTo>
                <a:lnTo>
                  <a:pt x="799749" y="292548"/>
                </a:lnTo>
                <a:lnTo>
                  <a:pt x="1107260" y="292548"/>
                </a:lnTo>
                <a:cubicBezTo>
                  <a:pt x="1191693" y="292548"/>
                  <a:pt x="1260140" y="360995"/>
                  <a:pt x="1260140" y="445428"/>
                </a:cubicBezTo>
                <a:lnTo>
                  <a:pt x="1260140" y="1719329"/>
                </a:lnTo>
                <a:cubicBezTo>
                  <a:pt x="1260140" y="1803762"/>
                  <a:pt x="1191693" y="1872209"/>
                  <a:pt x="1107260" y="1872209"/>
                </a:cubicBezTo>
                <a:lnTo>
                  <a:pt x="152880" y="1872209"/>
                </a:lnTo>
                <a:cubicBezTo>
                  <a:pt x="68447" y="1872209"/>
                  <a:pt x="0" y="1803762"/>
                  <a:pt x="0" y="1719329"/>
                </a:cubicBezTo>
                <a:lnTo>
                  <a:pt x="0" y="445428"/>
                </a:lnTo>
                <a:cubicBezTo>
                  <a:pt x="0" y="360995"/>
                  <a:pt x="68447" y="292548"/>
                  <a:pt x="152880" y="292548"/>
                </a:cubicBezTo>
                <a:lnTo>
                  <a:pt x="460393" y="292548"/>
                </a:lnTo>
                <a:close/>
              </a:path>
            </a:pathLst>
          </a:custGeom>
          <a:noFill/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454879" y="1152484"/>
            <a:ext cx="218356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rgbClr val="1BCCB3"/>
                </a:solidFill>
                <a:latin typeface="Century Gothic" panose="020B0502020202020204"/>
              </a:rPr>
              <a:t>Создание </a:t>
            </a:r>
            <a:endParaRPr lang="ru-RU" sz="1400" dirty="0" smtClean="0">
              <a:solidFill>
                <a:srgbClr val="1BCCB3"/>
              </a:solidFill>
              <a:latin typeface="Century Gothic" panose="020B0502020202020204"/>
            </a:endParaRPr>
          </a:p>
          <a:p>
            <a:pPr algn="ctr"/>
            <a:r>
              <a:rPr lang="ru-RU" sz="1400" dirty="0" smtClean="0">
                <a:solidFill>
                  <a:srgbClr val="1BCCB3"/>
                </a:solidFill>
                <a:latin typeface="Century Gothic" panose="020B0502020202020204"/>
              </a:rPr>
              <a:t>механизмов </a:t>
            </a:r>
            <a:r>
              <a:rPr lang="ru-RU" sz="1400" dirty="0">
                <a:solidFill>
                  <a:srgbClr val="1BCCB3"/>
                </a:solidFill>
                <a:latin typeface="Century Gothic" panose="020B0502020202020204"/>
              </a:rPr>
              <a:t>участия населения в поддержке отдельных объектов культуры </a:t>
            </a:r>
          </a:p>
        </p:txBody>
      </p:sp>
      <p:sp>
        <p:nvSpPr>
          <p:cNvPr id="13" name="Rounded Rectangle 8">
            <a:extLst>
              <a:ext uri="{FF2B5EF4-FFF2-40B4-BE49-F238E27FC236}">
                <a16:creationId xmlns:a16="http://schemas.microsoft.com/office/drawing/2014/main" id="{C7B57B69-F8FE-4A19-A7DE-6F7A380F8454}"/>
              </a:ext>
            </a:extLst>
          </p:cNvPr>
          <p:cNvSpPr/>
          <p:nvPr/>
        </p:nvSpPr>
        <p:spPr>
          <a:xfrm rot="10800000">
            <a:off x="9218855" y="1054250"/>
            <a:ext cx="2412000" cy="1555390"/>
          </a:xfrm>
          <a:custGeom>
            <a:avLst/>
            <a:gdLst/>
            <a:ahLst/>
            <a:cxnLst/>
            <a:rect l="l" t="t" r="r" b="b"/>
            <a:pathLst>
              <a:path w="1260140" h="1872209">
                <a:moveTo>
                  <a:pt x="630071" y="0"/>
                </a:moveTo>
                <a:lnTo>
                  <a:pt x="799749" y="292548"/>
                </a:lnTo>
                <a:lnTo>
                  <a:pt x="1107260" y="292548"/>
                </a:lnTo>
                <a:cubicBezTo>
                  <a:pt x="1191693" y="292548"/>
                  <a:pt x="1260140" y="360995"/>
                  <a:pt x="1260140" y="445428"/>
                </a:cubicBezTo>
                <a:lnTo>
                  <a:pt x="1260140" y="1719329"/>
                </a:lnTo>
                <a:cubicBezTo>
                  <a:pt x="1260140" y="1803762"/>
                  <a:pt x="1191693" y="1872209"/>
                  <a:pt x="1107260" y="1872209"/>
                </a:cubicBezTo>
                <a:lnTo>
                  <a:pt x="152880" y="1872209"/>
                </a:lnTo>
                <a:cubicBezTo>
                  <a:pt x="68447" y="1872209"/>
                  <a:pt x="0" y="1803762"/>
                  <a:pt x="0" y="1719329"/>
                </a:cubicBezTo>
                <a:lnTo>
                  <a:pt x="0" y="445428"/>
                </a:lnTo>
                <a:cubicBezTo>
                  <a:pt x="0" y="360995"/>
                  <a:pt x="68447" y="292548"/>
                  <a:pt x="152880" y="292548"/>
                </a:cubicBezTo>
                <a:lnTo>
                  <a:pt x="460393" y="292548"/>
                </a:lnTo>
                <a:close/>
              </a:path>
            </a:pathLst>
          </a:custGeom>
          <a:noFill/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9218388" y="1230033"/>
            <a:ext cx="243712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400" dirty="0">
                <a:solidFill>
                  <a:srgbClr val="1BCCB3"/>
                </a:solidFill>
              </a:rPr>
              <a:t>Участие </a:t>
            </a:r>
          </a:p>
          <a:p>
            <a:pPr lvl="0" algn="ctr">
              <a:defRPr/>
            </a:pPr>
            <a:r>
              <a:rPr lang="ru-RU" sz="1400" dirty="0">
                <a:solidFill>
                  <a:srgbClr val="1BCCB3"/>
                </a:solidFill>
              </a:rPr>
              <a:t>государства и механизмы помощи инвесторам </a:t>
            </a:r>
          </a:p>
        </p:txBody>
      </p:sp>
      <p:sp>
        <p:nvSpPr>
          <p:cNvPr id="15" name="TextBox 14"/>
          <p:cNvSpPr txBox="1"/>
          <p:nvPr/>
        </p:nvSpPr>
        <p:spPr>
          <a:xfrm rot="16200000">
            <a:off x="-490770" y="1308733"/>
            <a:ext cx="1346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З</a:t>
            </a:r>
            <a:r>
              <a:rPr lang="ru-RU" dirty="0" smtClean="0">
                <a:solidFill>
                  <a:schemeClr val="bg1">
                    <a:lumMod val="65000"/>
                  </a:schemeClr>
                </a:solidFill>
              </a:rPr>
              <a:t>адачи</a:t>
            </a:r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 rot="16200000">
            <a:off x="-681576" y="3199928"/>
            <a:ext cx="1769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65000"/>
                  </a:schemeClr>
                </a:solidFill>
              </a:rPr>
              <a:t>Результаты</a:t>
            </a:r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122041" y="2844621"/>
            <a:ext cx="287992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</a:rPr>
              <a:t>Портал создан и запущен в промышленную эксплуатацию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</a:rPr>
              <a:t>На </a:t>
            </a:r>
            <a:r>
              <a:rPr lang="ru-RU" sz="1400" dirty="0">
                <a:solidFill>
                  <a:schemeClr val="bg1"/>
                </a:solidFill>
              </a:rPr>
              <a:t>портале размещена информация о не менее, чем 10 000 </a:t>
            </a:r>
            <a:r>
              <a:rPr lang="ru-RU" sz="1400" dirty="0" smtClean="0">
                <a:solidFill>
                  <a:schemeClr val="bg1"/>
                </a:solidFill>
              </a:rPr>
              <a:t>объектах </a:t>
            </a:r>
            <a:r>
              <a:rPr lang="ru-RU" sz="1400" dirty="0">
                <a:solidFill>
                  <a:schemeClr val="bg1"/>
                </a:solidFill>
              </a:rPr>
              <a:t>культуры к 2024 году </a:t>
            </a:r>
            <a:endParaRPr lang="ru-RU" sz="1400" dirty="0" smtClean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59785" y="2876618"/>
            <a:ext cx="236286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 smtClean="0">
                <a:solidFill>
                  <a:schemeClr val="bg1"/>
                </a:solidFill>
              </a:rPr>
              <a:t>Государственный оператор создан и приступил к работе (Минкультуры, Минэк)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9360250" y="2928434"/>
            <a:ext cx="251343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 smtClean="0">
                <a:solidFill>
                  <a:schemeClr val="bg1"/>
                </a:solidFill>
              </a:rPr>
              <a:t>Количество </a:t>
            </a:r>
            <a:r>
              <a:rPr lang="ru-RU" sz="1400" dirty="0">
                <a:solidFill>
                  <a:schemeClr val="bg1"/>
                </a:solidFill>
              </a:rPr>
              <a:t>субъектов РФ с опытом привлечения частных инвестиций, в том числе на базе ГЧП в сфере культуры:</a:t>
            </a:r>
          </a:p>
          <a:p>
            <a:pPr marL="360363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2024г. – не менее 40</a:t>
            </a:r>
          </a:p>
          <a:p>
            <a:pPr marL="360363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2030г. – все </a:t>
            </a:r>
            <a:r>
              <a:rPr lang="ru-RU" sz="1400" dirty="0" smtClean="0">
                <a:solidFill>
                  <a:schemeClr val="bg1"/>
                </a:solidFill>
              </a:rPr>
              <a:t>субъекты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281248" y="2876618"/>
            <a:ext cx="2485816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</a:rPr>
              <a:t>Утвержден </a:t>
            </a:r>
            <a:r>
              <a:rPr lang="ru-RU" sz="1400" dirty="0">
                <a:solidFill>
                  <a:schemeClr val="bg1"/>
                </a:solidFill>
              </a:rPr>
              <a:t>механизм частных </a:t>
            </a:r>
            <a:r>
              <a:rPr lang="ru-RU" sz="1400" dirty="0" smtClean="0">
                <a:solidFill>
                  <a:schemeClr val="bg1"/>
                </a:solidFill>
              </a:rPr>
              <a:t>инвестиций/ пожертвований физических </a:t>
            </a:r>
            <a:r>
              <a:rPr lang="ru-RU" sz="1400" dirty="0">
                <a:solidFill>
                  <a:schemeClr val="bg1"/>
                </a:solidFill>
              </a:rPr>
              <a:t>лиц в объекты культуры;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</a:rPr>
              <a:t>Реализован </a:t>
            </a:r>
            <a:r>
              <a:rPr lang="ru-RU" sz="1400" dirty="0">
                <a:solidFill>
                  <a:schemeClr val="bg1"/>
                </a:solidFill>
              </a:rPr>
              <a:t>пилотный </a:t>
            </a:r>
            <a:r>
              <a:rPr lang="ru-RU" sz="1400" dirty="0" smtClean="0">
                <a:solidFill>
                  <a:schemeClr val="bg1"/>
                </a:solidFill>
              </a:rPr>
              <a:t>проект. Принято решение о тираже</a:t>
            </a:r>
            <a:endParaRPr lang="ru-RU" sz="1400" dirty="0">
              <a:solidFill>
                <a:schemeClr val="bg1"/>
              </a:solidFill>
            </a:endParaRP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3012367" y="2761748"/>
            <a:ext cx="0" cy="1866777"/>
          </a:xfrm>
          <a:prstGeom prst="line">
            <a:avLst/>
          </a:prstGeom>
          <a:noFill/>
          <a:ln w="9525" cap="flat" cmpd="sng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2" name="Прямая соединительная линия 21"/>
          <p:cNvCxnSpPr/>
          <p:nvPr/>
        </p:nvCxnSpPr>
        <p:spPr>
          <a:xfrm>
            <a:off x="513993" y="2803525"/>
            <a:ext cx="2120248" cy="0"/>
          </a:xfrm>
          <a:prstGeom prst="line">
            <a:avLst/>
          </a:prstGeom>
          <a:noFill/>
          <a:ln w="9525" cap="flat" cmpd="sng">
            <a:solidFill>
              <a:schemeClr val="bg1">
                <a:lumMod val="50000"/>
              </a:schemeClr>
            </a:solidFill>
            <a:prstDash val="sysDash"/>
            <a:round/>
            <a:headEnd type="none" w="sm" len="sm"/>
            <a:tailEnd type="none" w="sm" len="sm"/>
          </a:ln>
        </p:spPr>
      </p:cxnSp>
      <p:cxnSp>
        <p:nvCxnSpPr>
          <p:cNvPr id="23" name="Прямая соединительная линия 22"/>
          <p:cNvCxnSpPr/>
          <p:nvPr/>
        </p:nvCxnSpPr>
        <p:spPr>
          <a:xfrm>
            <a:off x="3323092" y="2803525"/>
            <a:ext cx="2120248" cy="0"/>
          </a:xfrm>
          <a:prstGeom prst="line">
            <a:avLst/>
          </a:prstGeom>
          <a:noFill/>
          <a:ln w="9525" cap="flat" cmpd="sng">
            <a:solidFill>
              <a:schemeClr val="bg1">
                <a:lumMod val="50000"/>
              </a:schemeClr>
            </a:solidFill>
            <a:prstDash val="sysDash"/>
            <a:round/>
            <a:headEnd type="none" w="sm" len="sm"/>
            <a:tailEnd type="none" w="sm" len="sm"/>
          </a:ln>
        </p:spPr>
      </p:cxnSp>
      <p:cxnSp>
        <p:nvCxnSpPr>
          <p:cNvPr id="24" name="Прямая соединительная линия 23"/>
          <p:cNvCxnSpPr/>
          <p:nvPr/>
        </p:nvCxnSpPr>
        <p:spPr>
          <a:xfrm>
            <a:off x="6371982" y="2803525"/>
            <a:ext cx="2120248" cy="0"/>
          </a:xfrm>
          <a:prstGeom prst="line">
            <a:avLst/>
          </a:prstGeom>
          <a:noFill/>
          <a:ln w="9525" cap="flat" cmpd="sng">
            <a:solidFill>
              <a:schemeClr val="bg1">
                <a:lumMod val="50000"/>
              </a:schemeClr>
            </a:solidFill>
            <a:prstDash val="sysDash"/>
            <a:round/>
            <a:headEnd type="none" w="sm" len="sm"/>
            <a:tailEnd type="none" w="sm" len="sm"/>
          </a:ln>
        </p:spPr>
      </p:cxnSp>
      <p:cxnSp>
        <p:nvCxnSpPr>
          <p:cNvPr id="25" name="Прямая соединительная линия 24"/>
          <p:cNvCxnSpPr/>
          <p:nvPr/>
        </p:nvCxnSpPr>
        <p:spPr>
          <a:xfrm>
            <a:off x="9490059" y="2803525"/>
            <a:ext cx="2120248" cy="0"/>
          </a:xfrm>
          <a:prstGeom prst="line">
            <a:avLst/>
          </a:prstGeom>
          <a:noFill/>
          <a:ln w="9525" cap="flat" cmpd="sng">
            <a:solidFill>
              <a:schemeClr val="bg1">
                <a:lumMod val="50000"/>
              </a:schemeClr>
            </a:solidFill>
            <a:prstDash val="sysDash"/>
            <a:round/>
            <a:headEnd type="none" w="sm" len="sm"/>
            <a:tailEnd type="none" w="sm" len="sm"/>
          </a:ln>
        </p:spPr>
      </p:cxnSp>
      <p:cxnSp>
        <p:nvCxnSpPr>
          <p:cNvPr id="26" name="Прямая соединительная линия 25"/>
          <p:cNvCxnSpPr/>
          <p:nvPr/>
        </p:nvCxnSpPr>
        <p:spPr>
          <a:xfrm>
            <a:off x="6051805" y="2761748"/>
            <a:ext cx="0" cy="1866777"/>
          </a:xfrm>
          <a:prstGeom prst="line">
            <a:avLst/>
          </a:prstGeom>
          <a:noFill/>
          <a:ln w="9525" cap="flat" cmpd="sng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7" name="Прямая соединительная линия 26"/>
          <p:cNvCxnSpPr/>
          <p:nvPr/>
        </p:nvCxnSpPr>
        <p:spPr>
          <a:xfrm>
            <a:off x="9080969" y="2761748"/>
            <a:ext cx="0" cy="1866777"/>
          </a:xfrm>
          <a:prstGeom prst="line">
            <a:avLst/>
          </a:prstGeom>
          <a:noFill/>
          <a:ln w="9525" cap="flat" cmpd="sng">
            <a:solidFill>
              <a:schemeClr val="bg1">
                <a:lumMod val="5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8" name="Прямая соединительная линия 27"/>
          <p:cNvCxnSpPr/>
          <p:nvPr/>
        </p:nvCxnSpPr>
        <p:spPr>
          <a:xfrm>
            <a:off x="598051" y="4924057"/>
            <a:ext cx="11088000" cy="0"/>
          </a:xfrm>
          <a:prstGeom prst="line">
            <a:avLst/>
          </a:prstGeom>
          <a:noFill/>
          <a:ln w="9525" cap="flat" cmpd="sng">
            <a:solidFill>
              <a:schemeClr val="bg1">
                <a:lumMod val="50000"/>
              </a:schemeClr>
            </a:solidFill>
            <a:prstDash val="sysDash"/>
            <a:round/>
            <a:headEnd type="none" w="sm" len="sm"/>
            <a:tailEnd type="none" w="sm" len="sm"/>
          </a:ln>
        </p:spPr>
      </p:cxnSp>
      <p:sp>
        <p:nvSpPr>
          <p:cNvPr id="31" name="Прямоугольник 30"/>
          <p:cNvSpPr/>
          <p:nvPr/>
        </p:nvSpPr>
        <p:spPr>
          <a:xfrm>
            <a:off x="329060" y="5312987"/>
            <a:ext cx="340242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dirty="0">
                <a:solidFill>
                  <a:srgbClr val="FE644E"/>
                </a:solidFill>
                <a:latin typeface="Century Gothic" panose="020B0502020202020204"/>
              </a:rPr>
              <a:t>Включение объектов </a:t>
            </a:r>
            <a:endParaRPr lang="ru-RU" sz="1400" dirty="0" smtClean="0">
              <a:solidFill>
                <a:srgbClr val="FE644E"/>
              </a:solidFill>
              <a:latin typeface="Century Gothic" panose="020B0502020202020204"/>
            </a:endParaRPr>
          </a:p>
          <a:p>
            <a:pPr algn="ctr">
              <a:defRPr/>
            </a:pPr>
            <a:r>
              <a:rPr lang="ru-RU" sz="1400" dirty="0" smtClean="0">
                <a:solidFill>
                  <a:srgbClr val="FE644E"/>
                </a:solidFill>
                <a:latin typeface="Century Gothic" panose="020B0502020202020204"/>
              </a:rPr>
              <a:t>культуры </a:t>
            </a:r>
            <a:r>
              <a:rPr lang="ru-RU" sz="1400" dirty="0">
                <a:solidFill>
                  <a:srgbClr val="FE644E"/>
                </a:solidFill>
                <a:latin typeface="Century Gothic" panose="020B0502020202020204"/>
              </a:rPr>
              <a:t>в программы лояльности без необходимости увеличения стоимости услуги на 20% </a:t>
            </a:r>
            <a:r>
              <a:rPr lang="ru-RU" sz="1400" dirty="0" smtClean="0">
                <a:solidFill>
                  <a:srgbClr val="FE644E"/>
                </a:solidFill>
                <a:latin typeface="Century Gothic" panose="020B0502020202020204"/>
              </a:rPr>
              <a:t>НДС</a:t>
            </a:r>
            <a:endParaRPr lang="ru-RU" sz="1400" dirty="0">
              <a:solidFill>
                <a:srgbClr val="FE644E"/>
              </a:solidFill>
              <a:latin typeface="Century Gothic" panose="020B0502020202020204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4780481" y="5647634"/>
            <a:ext cx="68750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400" dirty="0">
                <a:solidFill>
                  <a:schemeClr val="bg1"/>
                </a:solidFill>
              </a:rPr>
              <a:t>40 млн. клиентов банков – физических лиц имеют возможность использовать бонусные баллы для посещения объектов культуры. 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685190" y="5215732"/>
            <a:ext cx="1769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65000"/>
                  </a:schemeClr>
                </a:solidFill>
              </a:rPr>
              <a:t>Результат:</a:t>
            </a:r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6" name="Rounded Rectangle 8">
            <a:extLst>
              <a:ext uri="{FF2B5EF4-FFF2-40B4-BE49-F238E27FC236}">
                <a16:creationId xmlns:a16="http://schemas.microsoft.com/office/drawing/2014/main" id="{C7B57B69-F8FE-4A19-A7DE-6F7A380F8454}"/>
              </a:ext>
            </a:extLst>
          </p:cNvPr>
          <p:cNvSpPr/>
          <p:nvPr/>
        </p:nvSpPr>
        <p:spPr>
          <a:xfrm rot="5400000">
            <a:off x="1854728" y="3712795"/>
            <a:ext cx="1181327" cy="4109378"/>
          </a:xfrm>
          <a:custGeom>
            <a:avLst/>
            <a:gdLst/>
            <a:ahLst/>
            <a:cxnLst/>
            <a:rect l="l" t="t" r="r" b="b"/>
            <a:pathLst>
              <a:path w="1260140" h="1872209">
                <a:moveTo>
                  <a:pt x="630071" y="0"/>
                </a:moveTo>
                <a:lnTo>
                  <a:pt x="799749" y="292548"/>
                </a:lnTo>
                <a:lnTo>
                  <a:pt x="1107260" y="292548"/>
                </a:lnTo>
                <a:cubicBezTo>
                  <a:pt x="1191693" y="292548"/>
                  <a:pt x="1260140" y="360995"/>
                  <a:pt x="1260140" y="445428"/>
                </a:cubicBezTo>
                <a:lnTo>
                  <a:pt x="1260140" y="1719329"/>
                </a:lnTo>
                <a:cubicBezTo>
                  <a:pt x="1260140" y="1803762"/>
                  <a:pt x="1191693" y="1872209"/>
                  <a:pt x="1107260" y="1872209"/>
                </a:cubicBezTo>
                <a:lnTo>
                  <a:pt x="152880" y="1872209"/>
                </a:lnTo>
                <a:cubicBezTo>
                  <a:pt x="68447" y="1872209"/>
                  <a:pt x="0" y="1803762"/>
                  <a:pt x="0" y="1719329"/>
                </a:cubicBezTo>
                <a:lnTo>
                  <a:pt x="0" y="445428"/>
                </a:lnTo>
                <a:cubicBezTo>
                  <a:pt x="0" y="360995"/>
                  <a:pt x="68447" y="292548"/>
                  <a:pt x="152880" y="292548"/>
                </a:cubicBezTo>
                <a:lnTo>
                  <a:pt x="460393" y="292548"/>
                </a:lnTo>
                <a:close/>
              </a:path>
            </a:pathLst>
          </a:custGeom>
          <a:noFill/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01276" y="6420718"/>
            <a:ext cx="749795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i="1" dirty="0" smtClean="0">
                <a:solidFill>
                  <a:schemeClr val="bg1">
                    <a:lumMod val="65000"/>
                  </a:schemeClr>
                </a:solidFill>
              </a:rPr>
              <a:t>*Задача не входит в проект и может быть реализована в рамках операционной деятельности </a:t>
            </a:r>
            <a:endParaRPr lang="ru-RU" sz="1050" i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255494" y="5036346"/>
            <a:ext cx="1546010" cy="30777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FE644E"/>
                </a:solidFill>
              </a:rPr>
              <a:t>ВНЕ ПРОЕКТА</a:t>
            </a:r>
            <a:r>
              <a:rPr lang="en-GB" sz="1400" dirty="0" smtClean="0">
                <a:solidFill>
                  <a:srgbClr val="FE644E"/>
                </a:solidFill>
              </a:rPr>
              <a:t>*</a:t>
            </a:r>
            <a:endParaRPr lang="ru-RU" sz="1400" dirty="0">
              <a:solidFill>
                <a:srgbClr val="FE644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9151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Прямоугольник 73"/>
          <p:cNvSpPr/>
          <p:nvPr/>
        </p:nvSpPr>
        <p:spPr>
          <a:xfrm>
            <a:off x="471117" y="1263547"/>
            <a:ext cx="4716667" cy="3739968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1B9649A-8A7A-434E-A9A5-447A515964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77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B1B9649A-8A7A-434E-A9A5-447A51596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992FC779-CBCA-1C4F-ABBF-572EB2195FA8}"/>
              </a:ext>
            </a:extLst>
          </p:cNvPr>
          <p:cNvSpPr/>
          <p:nvPr/>
        </p:nvSpPr>
        <p:spPr>
          <a:xfrm>
            <a:off x="785139" y="138137"/>
            <a:ext cx="11284816" cy="1046036"/>
          </a:xfrm>
          <a:prstGeom prst="rect">
            <a:avLst/>
          </a:prstGeom>
        </p:spPr>
        <p:txBody>
          <a:bodyPr wrap="square" lIns="121485" tIns="60760" rIns="121485" bIns="607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1200" cap="none" spc="0" normalizeH="0" baseline="0" noProof="0" dirty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Создание государственного оператора частных инвестиций в культуру</a:t>
            </a:r>
          </a:p>
        </p:txBody>
      </p:sp>
      <p:sp>
        <p:nvSpPr>
          <p:cNvPr id="27" name="Овал 26"/>
          <p:cNvSpPr/>
          <p:nvPr/>
        </p:nvSpPr>
        <p:spPr>
          <a:xfrm>
            <a:off x="122989" y="288386"/>
            <a:ext cx="573986" cy="573986"/>
          </a:xfrm>
          <a:prstGeom prst="ellipse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160560" y="1377085"/>
            <a:ext cx="5613623" cy="13080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E644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Проблема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Отсутствие соответствующей экспертизы/опыта/человеческих ресурсов для системной работы. Механизмы ГЧП сложны и непонятны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160560" y="2630586"/>
            <a:ext cx="542868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  <a:defRPr/>
            </a:pPr>
            <a:r>
              <a:rPr lang="ru-RU" sz="1600" dirty="0">
                <a:solidFill>
                  <a:srgbClr val="1BCCB3"/>
                </a:solidFill>
              </a:rPr>
              <a:t>Результат:</a:t>
            </a:r>
          </a:p>
          <a:p>
            <a:pPr lvl="0">
              <a:spcAft>
                <a:spcPts val="600"/>
              </a:spcAft>
              <a:defRPr/>
            </a:pPr>
            <a:r>
              <a:rPr lang="ru-RU" sz="1400" dirty="0">
                <a:solidFill>
                  <a:prstClr val="white"/>
                </a:solidFill>
              </a:rPr>
              <a:t>Государственный оператор создан и приступил к </a:t>
            </a:r>
            <a:r>
              <a:rPr lang="ru-RU" sz="1400" dirty="0" smtClean="0">
                <a:solidFill>
                  <a:prstClr val="white"/>
                </a:solidFill>
              </a:rPr>
              <a:t>работе</a:t>
            </a:r>
            <a:endParaRPr lang="ru-RU" sz="1400" dirty="0">
              <a:solidFill>
                <a:prstClr val="white"/>
              </a:solidFill>
            </a:endParaRPr>
          </a:p>
          <a:p>
            <a:pPr lvl="0">
              <a:spcAft>
                <a:spcPts val="600"/>
              </a:spcAft>
              <a:defRPr/>
            </a:pP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55496" y="5496804"/>
            <a:ext cx="4736387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  <a:defRPr/>
            </a:pPr>
            <a:r>
              <a:rPr lang="ru-RU" sz="1600" dirty="0">
                <a:solidFill>
                  <a:srgbClr val="04AAC1"/>
                </a:solidFill>
              </a:rPr>
              <a:t>Ресурсы и финансирование:</a:t>
            </a:r>
          </a:p>
          <a:p>
            <a:pPr lvl="0">
              <a:spcAft>
                <a:spcPts val="600"/>
              </a:spcAft>
              <a:defRPr/>
            </a:pPr>
            <a:r>
              <a:rPr lang="en-US" sz="1400" dirty="0">
                <a:solidFill>
                  <a:prstClr val="white"/>
                </a:solidFill>
              </a:rPr>
              <a:t>~ 2</a:t>
            </a:r>
            <a:r>
              <a:rPr lang="ru-RU" sz="1400" dirty="0">
                <a:solidFill>
                  <a:prstClr val="white"/>
                </a:solidFill>
              </a:rPr>
              <a:t>10</a:t>
            </a:r>
            <a:r>
              <a:rPr lang="en-US" sz="1400" dirty="0">
                <a:solidFill>
                  <a:prstClr val="white"/>
                </a:solidFill>
              </a:rPr>
              <a:t> </a:t>
            </a:r>
            <a:r>
              <a:rPr lang="ru-RU" sz="1400" dirty="0" smtClean="0">
                <a:solidFill>
                  <a:prstClr val="white"/>
                </a:solidFill>
              </a:rPr>
              <a:t>млн </a:t>
            </a:r>
            <a:r>
              <a:rPr lang="ru-RU" sz="1400" dirty="0">
                <a:solidFill>
                  <a:prstClr val="white"/>
                </a:solidFill>
              </a:rPr>
              <a:t>рублей в год, включая персонал, недвижимость и прочие расходы</a:t>
            </a: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96" r="6765"/>
          <a:stretch/>
        </p:blipFill>
        <p:spPr>
          <a:xfrm>
            <a:off x="719192" y="1461706"/>
            <a:ext cx="4642986" cy="3757565"/>
          </a:xfrm>
          <a:prstGeom prst="rect">
            <a:avLst/>
          </a:prstGeom>
        </p:spPr>
      </p:pic>
      <p:sp>
        <p:nvSpPr>
          <p:cNvPr id="21" name="Скругленный прямоугольник 20"/>
          <p:cNvSpPr/>
          <p:nvPr/>
        </p:nvSpPr>
        <p:spPr>
          <a:xfrm>
            <a:off x="6160560" y="3714809"/>
            <a:ext cx="1620000" cy="725169"/>
          </a:xfrm>
          <a:prstGeom prst="round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МИНКУЛЬТУРЫ</a:t>
            </a:r>
            <a:endParaRPr kumimoji="0" lang="en-US" sz="140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РОССИИ</a:t>
            </a:r>
            <a:endParaRPr kumimoji="0" lang="ru-RU" sz="140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8354277" y="3714809"/>
            <a:ext cx="1338843" cy="725169"/>
          </a:xfrm>
          <a:prstGeom prst="roundRect">
            <a:avLst/>
          </a:prstGeom>
          <a:solidFill>
            <a:srgbClr val="1BCCB3"/>
          </a:solidFill>
          <a:ln w="12700">
            <a:solidFill>
              <a:srgbClr val="1BCC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ОПЕРАТОР</a:t>
            </a:r>
            <a:r>
              <a:rPr kumimoji="0" lang="en-US" sz="140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\</a:t>
            </a:r>
            <a:endParaRPr kumimoji="0" lang="ru-RU" sz="140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АГЕНТСТВО</a:t>
            </a:r>
            <a:endParaRPr kumimoji="0" lang="ru-RU" sz="140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10342268" y="3685020"/>
            <a:ext cx="1620000" cy="725169"/>
          </a:xfrm>
          <a:prstGeom prst="round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ИНВЕСТОРЫ</a:t>
            </a:r>
          </a:p>
        </p:txBody>
      </p:sp>
      <p:grpSp>
        <p:nvGrpSpPr>
          <p:cNvPr id="24" name="Group 188">
            <a:extLst>
              <a:ext uri="{FF2B5EF4-FFF2-40B4-BE49-F238E27FC236}">
                <a16:creationId xmlns:a16="http://schemas.microsoft.com/office/drawing/2014/main" id="{CF6FD25F-0ED6-49B4-B066-7AE44DD5C32B}"/>
              </a:ext>
            </a:extLst>
          </p:cNvPr>
          <p:cNvGrpSpPr>
            <a:grpSpLocks/>
          </p:cNvGrpSpPr>
          <p:nvPr/>
        </p:nvGrpSpPr>
        <p:grpSpPr>
          <a:xfrm>
            <a:off x="7863075" y="3918386"/>
            <a:ext cx="436690" cy="277532"/>
            <a:chOff x="2285041" y="2661166"/>
            <a:chExt cx="462398" cy="208514"/>
          </a:xfrm>
          <a:solidFill>
            <a:schemeClr val="accent1">
              <a:lumMod val="25000"/>
            </a:schemeClr>
          </a:solidFill>
        </p:grpSpPr>
        <p:sp>
          <p:nvSpPr>
            <p:cNvPr id="25" name="Rectangle: Rounded Corners 189">
              <a:extLst>
                <a:ext uri="{FF2B5EF4-FFF2-40B4-BE49-F238E27FC236}">
                  <a16:creationId xmlns:a16="http://schemas.microsoft.com/office/drawing/2014/main" id="{3B19A51F-DF9F-429F-A57E-9C73439D39C8}"/>
                </a:ext>
              </a:extLst>
            </p:cNvPr>
            <p:cNvSpPr/>
            <p:nvPr/>
          </p:nvSpPr>
          <p:spPr>
            <a:xfrm>
              <a:off x="2285041" y="2661166"/>
              <a:ext cx="462398" cy="208514"/>
            </a:xfrm>
            <a:prstGeom prst="roundRect">
              <a:avLst>
                <a:gd name="adj" fmla="val 50000"/>
              </a:avLst>
            </a:prstGeom>
            <a:solidFill>
              <a:srgbClr val="1BCCB3"/>
            </a:solidFill>
            <a:ln w="6350" cap="sq">
              <a:solidFill>
                <a:schemeClr val="tx1"/>
              </a:solidFill>
              <a:miter lim="800000"/>
            </a:ln>
            <a:effectLst>
              <a:outerShdw blurRad="152400" dist="50800" dir="54000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cxnSp>
          <p:nvCxnSpPr>
            <p:cNvPr id="26" name="Straight Arrow Connector 190">
              <a:extLst>
                <a:ext uri="{FF2B5EF4-FFF2-40B4-BE49-F238E27FC236}">
                  <a16:creationId xmlns:a16="http://schemas.microsoft.com/office/drawing/2014/main" id="{A142CF75-0A1D-4EB5-B700-47D8AE198522}"/>
                </a:ext>
              </a:extLst>
            </p:cNvPr>
            <p:cNvCxnSpPr/>
            <p:nvPr/>
          </p:nvCxnSpPr>
          <p:spPr>
            <a:xfrm flipH="1">
              <a:off x="2376299" y="2765423"/>
              <a:ext cx="279882" cy="0"/>
            </a:xfrm>
            <a:prstGeom prst="straightConnector1">
              <a:avLst/>
            </a:prstGeom>
            <a:grpFill/>
            <a:ln w="12700" cap="sq">
              <a:solidFill>
                <a:schemeClr val="bg1"/>
              </a:solidFill>
              <a:miter lim="800000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188">
            <a:extLst>
              <a:ext uri="{FF2B5EF4-FFF2-40B4-BE49-F238E27FC236}">
                <a16:creationId xmlns:a16="http://schemas.microsoft.com/office/drawing/2014/main" id="{CF6FD25F-0ED6-49B4-B066-7AE44DD5C32B}"/>
              </a:ext>
            </a:extLst>
          </p:cNvPr>
          <p:cNvGrpSpPr>
            <a:grpSpLocks/>
          </p:cNvGrpSpPr>
          <p:nvPr/>
        </p:nvGrpSpPr>
        <p:grpSpPr>
          <a:xfrm>
            <a:off x="9777512" y="3918386"/>
            <a:ext cx="488831" cy="277532"/>
            <a:chOff x="2285041" y="2661166"/>
            <a:chExt cx="462398" cy="208514"/>
          </a:xfrm>
          <a:solidFill>
            <a:schemeClr val="accent1">
              <a:lumMod val="25000"/>
            </a:schemeClr>
          </a:solidFill>
        </p:grpSpPr>
        <p:sp>
          <p:nvSpPr>
            <p:cNvPr id="37" name="Rectangle: Rounded Corners 189">
              <a:extLst>
                <a:ext uri="{FF2B5EF4-FFF2-40B4-BE49-F238E27FC236}">
                  <a16:creationId xmlns:a16="http://schemas.microsoft.com/office/drawing/2014/main" id="{3B19A51F-DF9F-429F-A57E-9C73439D39C8}"/>
                </a:ext>
              </a:extLst>
            </p:cNvPr>
            <p:cNvSpPr/>
            <p:nvPr/>
          </p:nvSpPr>
          <p:spPr>
            <a:xfrm>
              <a:off x="2285041" y="2661166"/>
              <a:ext cx="462398" cy="208514"/>
            </a:xfrm>
            <a:prstGeom prst="roundRect">
              <a:avLst>
                <a:gd name="adj" fmla="val 50000"/>
              </a:avLst>
            </a:prstGeom>
            <a:solidFill>
              <a:srgbClr val="1BCCB3"/>
            </a:solidFill>
            <a:ln w="6350" cap="sq">
              <a:solidFill>
                <a:schemeClr val="tx1"/>
              </a:solidFill>
              <a:miter lim="800000"/>
            </a:ln>
            <a:effectLst>
              <a:outerShdw blurRad="152400" dist="50800" dir="54000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cxnSp>
          <p:nvCxnSpPr>
            <p:cNvPr id="38" name="Straight Arrow Connector 190">
              <a:extLst>
                <a:ext uri="{FF2B5EF4-FFF2-40B4-BE49-F238E27FC236}">
                  <a16:creationId xmlns:a16="http://schemas.microsoft.com/office/drawing/2014/main" id="{A142CF75-0A1D-4EB5-B700-47D8AE198522}"/>
                </a:ext>
              </a:extLst>
            </p:cNvPr>
            <p:cNvCxnSpPr/>
            <p:nvPr/>
          </p:nvCxnSpPr>
          <p:spPr>
            <a:xfrm flipH="1">
              <a:off x="2376299" y="2765423"/>
              <a:ext cx="279882" cy="0"/>
            </a:xfrm>
            <a:prstGeom prst="straightConnector1">
              <a:avLst/>
            </a:prstGeom>
            <a:grpFill/>
            <a:ln w="12700" cap="sq">
              <a:solidFill>
                <a:schemeClr val="bg1"/>
              </a:solidFill>
              <a:miter lim="800000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9" name="Прямая соединительная линия 38"/>
          <p:cNvCxnSpPr/>
          <p:nvPr/>
        </p:nvCxnSpPr>
        <p:spPr>
          <a:xfrm>
            <a:off x="6274365" y="2544388"/>
            <a:ext cx="5499377" cy="0"/>
          </a:xfrm>
          <a:prstGeom prst="line">
            <a:avLst/>
          </a:prstGeom>
          <a:noFill/>
          <a:ln w="9525" cap="flat" cmpd="sng">
            <a:solidFill>
              <a:schemeClr val="bg1">
                <a:lumMod val="50000"/>
              </a:schemeClr>
            </a:solidFill>
            <a:prstDash val="sysDash"/>
            <a:round/>
            <a:headEnd type="none" w="sm" len="sm"/>
            <a:tailEnd type="none" w="sm" len="sm"/>
          </a:ln>
        </p:spPr>
      </p:cxnSp>
      <p:cxnSp>
        <p:nvCxnSpPr>
          <p:cNvPr id="40" name="Прямая соединительная линия 39"/>
          <p:cNvCxnSpPr/>
          <p:nvPr/>
        </p:nvCxnSpPr>
        <p:spPr>
          <a:xfrm>
            <a:off x="6274365" y="6461415"/>
            <a:ext cx="5499377" cy="0"/>
          </a:xfrm>
          <a:prstGeom prst="line">
            <a:avLst/>
          </a:prstGeom>
          <a:noFill/>
          <a:ln w="9525" cap="flat" cmpd="sng">
            <a:solidFill>
              <a:schemeClr val="bg1">
                <a:lumMod val="50000"/>
              </a:schemeClr>
            </a:solidFill>
            <a:prstDash val="sysDash"/>
            <a:round/>
            <a:headEnd type="none" w="sm" len="sm"/>
            <a:tailEnd type="none" w="sm" len="sm"/>
          </a:ln>
        </p:spPr>
      </p:cxnSp>
      <p:sp>
        <p:nvSpPr>
          <p:cNvPr id="41" name="TextBox 40"/>
          <p:cNvSpPr txBox="1"/>
          <p:nvPr/>
        </p:nvSpPr>
        <p:spPr>
          <a:xfrm>
            <a:off x="6160560" y="4606854"/>
            <a:ext cx="6373912" cy="17184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Функции оператора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Методологическая помощь и обучение РОИВ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Организация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и управление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ГЧП/концессий в сфере культуры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Функции контроля и мониторинга проектов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Структурирование отдельных проектов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Поддержка актуальности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информационного портала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Урегулирование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конфликтов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интересов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115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8743" y="1356537"/>
            <a:ext cx="359625" cy="351552"/>
          </a:xfrm>
          <a:prstGeom prst="rect">
            <a:avLst/>
          </a:prstGeom>
        </p:spPr>
      </p:pic>
      <p:grpSp>
        <p:nvGrpSpPr>
          <p:cNvPr id="47" name="Группа 46"/>
          <p:cNvGrpSpPr/>
          <p:nvPr/>
        </p:nvGrpSpPr>
        <p:grpSpPr>
          <a:xfrm>
            <a:off x="471117" y="5468282"/>
            <a:ext cx="451716" cy="451715"/>
            <a:chOff x="4357688" y="3584576"/>
            <a:chExt cx="496888" cy="496887"/>
          </a:xfrm>
          <a:solidFill>
            <a:srgbClr val="04AAC1"/>
          </a:solidFill>
        </p:grpSpPr>
        <p:sp>
          <p:nvSpPr>
            <p:cNvPr id="48" name="Freeform 162"/>
            <p:cNvSpPr>
              <a:spLocks/>
            </p:cNvSpPr>
            <p:nvPr/>
          </p:nvSpPr>
          <p:spPr bwMode="auto">
            <a:xfrm>
              <a:off x="4413251" y="3783013"/>
              <a:ext cx="74613" cy="42863"/>
            </a:xfrm>
            <a:custGeom>
              <a:avLst/>
              <a:gdLst>
                <a:gd name="T0" fmla="*/ 19 w 38"/>
                <a:gd name="T1" fmla="*/ 22 h 22"/>
                <a:gd name="T2" fmla="*/ 16 w 38"/>
                <a:gd name="T3" fmla="*/ 21 h 22"/>
                <a:gd name="T4" fmla="*/ 0 w 38"/>
                <a:gd name="T5" fmla="*/ 5 h 22"/>
                <a:gd name="T6" fmla="*/ 6 w 38"/>
                <a:gd name="T7" fmla="*/ 0 h 22"/>
                <a:gd name="T8" fmla="*/ 19 w 38"/>
                <a:gd name="T9" fmla="*/ 13 h 22"/>
                <a:gd name="T10" fmla="*/ 32 w 38"/>
                <a:gd name="T11" fmla="*/ 0 h 22"/>
                <a:gd name="T12" fmla="*/ 38 w 38"/>
                <a:gd name="T13" fmla="*/ 5 h 22"/>
                <a:gd name="T14" fmla="*/ 22 w 38"/>
                <a:gd name="T15" fmla="*/ 21 h 22"/>
                <a:gd name="T16" fmla="*/ 19 w 38"/>
                <a:gd name="T1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22">
                  <a:moveTo>
                    <a:pt x="19" y="22"/>
                  </a:moveTo>
                  <a:cubicBezTo>
                    <a:pt x="18" y="22"/>
                    <a:pt x="17" y="22"/>
                    <a:pt x="16" y="2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1" y="22"/>
                    <a:pt x="20" y="22"/>
                    <a:pt x="19" y="2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9" name="Freeform 163"/>
            <p:cNvSpPr>
              <a:spLocks/>
            </p:cNvSpPr>
            <p:nvPr/>
          </p:nvSpPr>
          <p:spPr bwMode="auto">
            <a:xfrm>
              <a:off x="4443413" y="3662363"/>
              <a:ext cx="209550" cy="155575"/>
            </a:xfrm>
            <a:custGeom>
              <a:avLst/>
              <a:gdLst>
                <a:gd name="T0" fmla="*/ 8 w 108"/>
                <a:gd name="T1" fmla="*/ 80 h 80"/>
                <a:gd name="T2" fmla="*/ 0 w 108"/>
                <a:gd name="T3" fmla="*/ 80 h 80"/>
                <a:gd name="T4" fmla="*/ 0 w 108"/>
                <a:gd name="T5" fmla="*/ 32 h 80"/>
                <a:gd name="T6" fmla="*/ 32 w 108"/>
                <a:gd name="T7" fmla="*/ 0 h 80"/>
                <a:gd name="T8" fmla="*/ 108 w 108"/>
                <a:gd name="T9" fmla="*/ 0 h 80"/>
                <a:gd name="T10" fmla="*/ 108 w 108"/>
                <a:gd name="T11" fmla="*/ 8 h 80"/>
                <a:gd name="T12" fmla="*/ 32 w 108"/>
                <a:gd name="T13" fmla="*/ 8 h 80"/>
                <a:gd name="T14" fmla="*/ 8 w 108"/>
                <a:gd name="T15" fmla="*/ 32 h 80"/>
                <a:gd name="T16" fmla="*/ 8 w 108"/>
                <a:gd name="T1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80">
                  <a:moveTo>
                    <a:pt x="8" y="8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5"/>
                    <a:pt x="14" y="0"/>
                    <a:pt x="32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8"/>
                    <a:pt x="108" y="8"/>
                    <a:pt x="108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19" y="8"/>
                    <a:pt x="8" y="19"/>
                    <a:pt x="8" y="32"/>
                  </a:cubicBezTo>
                  <a:lnTo>
                    <a:pt x="8" y="8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0" name="Freeform 164"/>
            <p:cNvSpPr>
              <a:spLocks/>
            </p:cNvSpPr>
            <p:nvPr/>
          </p:nvSpPr>
          <p:spPr bwMode="auto">
            <a:xfrm>
              <a:off x="4724401" y="3825876"/>
              <a:ext cx="73025" cy="44450"/>
            </a:xfrm>
            <a:custGeom>
              <a:avLst/>
              <a:gdLst>
                <a:gd name="T0" fmla="*/ 32 w 38"/>
                <a:gd name="T1" fmla="*/ 23 h 23"/>
                <a:gd name="T2" fmla="*/ 19 w 38"/>
                <a:gd name="T3" fmla="*/ 10 h 23"/>
                <a:gd name="T4" fmla="*/ 6 w 38"/>
                <a:gd name="T5" fmla="*/ 23 h 23"/>
                <a:gd name="T6" fmla="*/ 0 w 38"/>
                <a:gd name="T7" fmla="*/ 18 h 23"/>
                <a:gd name="T8" fmla="*/ 16 w 38"/>
                <a:gd name="T9" fmla="*/ 2 h 23"/>
                <a:gd name="T10" fmla="*/ 22 w 38"/>
                <a:gd name="T11" fmla="*/ 2 h 23"/>
                <a:gd name="T12" fmla="*/ 38 w 38"/>
                <a:gd name="T13" fmla="*/ 18 h 23"/>
                <a:gd name="T14" fmla="*/ 32 w 38"/>
                <a:gd name="T1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23">
                  <a:moveTo>
                    <a:pt x="32" y="23"/>
                  </a:moveTo>
                  <a:cubicBezTo>
                    <a:pt x="19" y="10"/>
                    <a:pt x="19" y="10"/>
                    <a:pt x="19" y="10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8" y="0"/>
                    <a:pt x="20" y="0"/>
                    <a:pt x="22" y="2"/>
                  </a:cubicBezTo>
                  <a:cubicBezTo>
                    <a:pt x="38" y="18"/>
                    <a:pt x="38" y="18"/>
                    <a:pt x="38" y="18"/>
                  </a:cubicBezTo>
                  <a:lnTo>
                    <a:pt x="32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1" name="Freeform 165"/>
            <p:cNvSpPr>
              <a:spLocks/>
            </p:cNvSpPr>
            <p:nvPr/>
          </p:nvSpPr>
          <p:spPr bwMode="auto">
            <a:xfrm>
              <a:off x="4559301" y="3833813"/>
              <a:ext cx="209550" cy="153988"/>
            </a:xfrm>
            <a:custGeom>
              <a:avLst/>
              <a:gdLst>
                <a:gd name="T0" fmla="*/ 76 w 108"/>
                <a:gd name="T1" fmla="*/ 80 h 80"/>
                <a:gd name="T2" fmla="*/ 0 w 108"/>
                <a:gd name="T3" fmla="*/ 80 h 80"/>
                <a:gd name="T4" fmla="*/ 0 w 108"/>
                <a:gd name="T5" fmla="*/ 72 h 80"/>
                <a:gd name="T6" fmla="*/ 76 w 108"/>
                <a:gd name="T7" fmla="*/ 72 h 80"/>
                <a:gd name="T8" fmla="*/ 100 w 108"/>
                <a:gd name="T9" fmla="*/ 48 h 80"/>
                <a:gd name="T10" fmla="*/ 100 w 108"/>
                <a:gd name="T11" fmla="*/ 0 h 80"/>
                <a:gd name="T12" fmla="*/ 108 w 108"/>
                <a:gd name="T13" fmla="*/ 0 h 80"/>
                <a:gd name="T14" fmla="*/ 108 w 108"/>
                <a:gd name="T15" fmla="*/ 48 h 80"/>
                <a:gd name="T16" fmla="*/ 76 w 108"/>
                <a:gd name="T1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80">
                  <a:moveTo>
                    <a:pt x="76" y="8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76" y="72"/>
                    <a:pt x="76" y="72"/>
                    <a:pt x="76" y="72"/>
                  </a:cubicBezTo>
                  <a:cubicBezTo>
                    <a:pt x="89" y="72"/>
                    <a:pt x="100" y="62"/>
                    <a:pt x="100" y="48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48"/>
                    <a:pt x="108" y="48"/>
                    <a:pt x="108" y="48"/>
                  </a:cubicBezTo>
                  <a:cubicBezTo>
                    <a:pt x="108" y="66"/>
                    <a:pt x="94" y="80"/>
                    <a:pt x="76" y="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2" name="Freeform 166"/>
            <p:cNvSpPr>
              <a:spLocks noEditPoints="1"/>
            </p:cNvSpPr>
            <p:nvPr/>
          </p:nvSpPr>
          <p:spPr bwMode="auto">
            <a:xfrm>
              <a:off x="4559301" y="3740151"/>
              <a:ext cx="93663" cy="107950"/>
            </a:xfrm>
            <a:custGeom>
              <a:avLst/>
              <a:gdLst>
                <a:gd name="T0" fmla="*/ 24 w 48"/>
                <a:gd name="T1" fmla="*/ 56 h 56"/>
                <a:gd name="T2" fmla="*/ 0 w 48"/>
                <a:gd name="T3" fmla="*/ 26 h 56"/>
                <a:gd name="T4" fmla="*/ 24 w 48"/>
                <a:gd name="T5" fmla="*/ 0 h 56"/>
                <a:gd name="T6" fmla="*/ 48 w 48"/>
                <a:gd name="T7" fmla="*/ 26 h 56"/>
                <a:gd name="T8" fmla="*/ 24 w 48"/>
                <a:gd name="T9" fmla="*/ 56 h 56"/>
                <a:gd name="T10" fmla="*/ 24 w 48"/>
                <a:gd name="T11" fmla="*/ 8 h 56"/>
                <a:gd name="T12" fmla="*/ 8 w 48"/>
                <a:gd name="T13" fmla="*/ 26 h 56"/>
                <a:gd name="T14" fmla="*/ 24 w 48"/>
                <a:gd name="T15" fmla="*/ 48 h 56"/>
                <a:gd name="T16" fmla="*/ 40 w 48"/>
                <a:gd name="T17" fmla="*/ 26 h 56"/>
                <a:gd name="T18" fmla="*/ 24 w 48"/>
                <a:gd name="T19" fmla="*/ 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56">
                  <a:moveTo>
                    <a:pt x="24" y="56"/>
                  </a:moveTo>
                  <a:cubicBezTo>
                    <a:pt x="10" y="56"/>
                    <a:pt x="0" y="44"/>
                    <a:pt x="0" y="26"/>
                  </a:cubicBezTo>
                  <a:cubicBezTo>
                    <a:pt x="0" y="14"/>
                    <a:pt x="3" y="0"/>
                    <a:pt x="24" y="0"/>
                  </a:cubicBezTo>
                  <a:cubicBezTo>
                    <a:pt x="45" y="0"/>
                    <a:pt x="48" y="14"/>
                    <a:pt x="48" y="26"/>
                  </a:cubicBezTo>
                  <a:cubicBezTo>
                    <a:pt x="48" y="44"/>
                    <a:pt x="38" y="56"/>
                    <a:pt x="24" y="56"/>
                  </a:cubicBezTo>
                  <a:close/>
                  <a:moveTo>
                    <a:pt x="24" y="8"/>
                  </a:moveTo>
                  <a:cubicBezTo>
                    <a:pt x="12" y="8"/>
                    <a:pt x="8" y="13"/>
                    <a:pt x="8" y="26"/>
                  </a:cubicBezTo>
                  <a:cubicBezTo>
                    <a:pt x="8" y="37"/>
                    <a:pt x="14" y="48"/>
                    <a:pt x="24" y="48"/>
                  </a:cubicBezTo>
                  <a:cubicBezTo>
                    <a:pt x="34" y="48"/>
                    <a:pt x="40" y="37"/>
                    <a:pt x="40" y="26"/>
                  </a:cubicBezTo>
                  <a:cubicBezTo>
                    <a:pt x="40" y="13"/>
                    <a:pt x="36" y="8"/>
                    <a:pt x="24" y="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3" name="Freeform 167"/>
            <p:cNvSpPr>
              <a:spLocks/>
            </p:cNvSpPr>
            <p:nvPr/>
          </p:nvSpPr>
          <p:spPr bwMode="auto">
            <a:xfrm>
              <a:off x="4521201" y="3827463"/>
              <a:ext cx="169863" cy="82550"/>
            </a:xfrm>
            <a:custGeom>
              <a:avLst/>
              <a:gdLst>
                <a:gd name="T0" fmla="*/ 76 w 88"/>
                <a:gd name="T1" fmla="*/ 43 h 43"/>
                <a:gd name="T2" fmla="*/ 12 w 88"/>
                <a:gd name="T3" fmla="*/ 43 h 43"/>
                <a:gd name="T4" fmla="*/ 0 w 88"/>
                <a:gd name="T5" fmla="*/ 27 h 43"/>
                <a:gd name="T6" fmla="*/ 0 w 88"/>
                <a:gd name="T7" fmla="*/ 17 h 43"/>
                <a:gd name="T8" fmla="*/ 30 w 88"/>
                <a:gd name="T9" fmla="*/ 0 h 43"/>
                <a:gd name="T10" fmla="*/ 34 w 88"/>
                <a:gd name="T11" fmla="*/ 7 h 43"/>
                <a:gd name="T12" fmla="*/ 8 w 88"/>
                <a:gd name="T13" fmla="*/ 22 h 43"/>
                <a:gd name="T14" fmla="*/ 8 w 88"/>
                <a:gd name="T15" fmla="*/ 27 h 43"/>
                <a:gd name="T16" fmla="*/ 12 w 88"/>
                <a:gd name="T17" fmla="*/ 35 h 43"/>
                <a:gd name="T18" fmla="*/ 76 w 88"/>
                <a:gd name="T19" fmla="*/ 35 h 43"/>
                <a:gd name="T20" fmla="*/ 80 w 88"/>
                <a:gd name="T21" fmla="*/ 27 h 43"/>
                <a:gd name="T22" fmla="*/ 80 w 88"/>
                <a:gd name="T23" fmla="*/ 22 h 43"/>
                <a:gd name="T24" fmla="*/ 54 w 88"/>
                <a:gd name="T25" fmla="*/ 7 h 43"/>
                <a:gd name="T26" fmla="*/ 58 w 88"/>
                <a:gd name="T27" fmla="*/ 0 h 43"/>
                <a:gd name="T28" fmla="*/ 88 w 88"/>
                <a:gd name="T29" fmla="*/ 17 h 43"/>
                <a:gd name="T30" fmla="*/ 88 w 88"/>
                <a:gd name="T31" fmla="*/ 27 h 43"/>
                <a:gd name="T32" fmla="*/ 76 w 88"/>
                <a:gd name="T3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" h="43">
                  <a:moveTo>
                    <a:pt x="76" y="43"/>
                  </a:moveTo>
                  <a:cubicBezTo>
                    <a:pt x="12" y="43"/>
                    <a:pt x="12" y="43"/>
                    <a:pt x="12" y="43"/>
                  </a:cubicBezTo>
                  <a:cubicBezTo>
                    <a:pt x="5" y="43"/>
                    <a:pt x="0" y="36"/>
                    <a:pt x="0" y="2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32"/>
                    <a:pt x="11" y="35"/>
                    <a:pt x="12" y="35"/>
                  </a:cubicBezTo>
                  <a:cubicBezTo>
                    <a:pt x="76" y="35"/>
                    <a:pt x="76" y="35"/>
                    <a:pt x="76" y="35"/>
                  </a:cubicBezTo>
                  <a:cubicBezTo>
                    <a:pt x="77" y="35"/>
                    <a:pt x="80" y="32"/>
                    <a:pt x="80" y="27"/>
                  </a:cubicBezTo>
                  <a:cubicBezTo>
                    <a:pt x="80" y="22"/>
                    <a:pt x="80" y="22"/>
                    <a:pt x="80" y="22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8" y="17"/>
                    <a:pt x="88" y="17"/>
                    <a:pt x="88" y="17"/>
                  </a:cubicBezTo>
                  <a:cubicBezTo>
                    <a:pt x="88" y="27"/>
                    <a:pt x="88" y="27"/>
                    <a:pt x="88" y="27"/>
                  </a:cubicBezTo>
                  <a:cubicBezTo>
                    <a:pt x="88" y="36"/>
                    <a:pt x="82" y="43"/>
                    <a:pt x="76" y="4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4" name="Freeform 168"/>
            <p:cNvSpPr>
              <a:spLocks noEditPoints="1"/>
            </p:cNvSpPr>
            <p:nvPr/>
          </p:nvSpPr>
          <p:spPr bwMode="auto">
            <a:xfrm>
              <a:off x="4395788" y="3910013"/>
              <a:ext cx="93663" cy="109538"/>
            </a:xfrm>
            <a:custGeom>
              <a:avLst/>
              <a:gdLst>
                <a:gd name="T0" fmla="*/ 24 w 48"/>
                <a:gd name="T1" fmla="*/ 56 h 56"/>
                <a:gd name="T2" fmla="*/ 0 w 48"/>
                <a:gd name="T3" fmla="*/ 26 h 56"/>
                <a:gd name="T4" fmla="*/ 24 w 48"/>
                <a:gd name="T5" fmla="*/ 0 h 56"/>
                <a:gd name="T6" fmla="*/ 48 w 48"/>
                <a:gd name="T7" fmla="*/ 26 h 56"/>
                <a:gd name="T8" fmla="*/ 24 w 48"/>
                <a:gd name="T9" fmla="*/ 56 h 56"/>
                <a:gd name="T10" fmla="*/ 24 w 48"/>
                <a:gd name="T11" fmla="*/ 8 h 56"/>
                <a:gd name="T12" fmla="*/ 8 w 48"/>
                <a:gd name="T13" fmla="*/ 26 h 56"/>
                <a:gd name="T14" fmla="*/ 24 w 48"/>
                <a:gd name="T15" fmla="*/ 48 h 56"/>
                <a:gd name="T16" fmla="*/ 40 w 48"/>
                <a:gd name="T17" fmla="*/ 26 h 56"/>
                <a:gd name="T18" fmla="*/ 24 w 48"/>
                <a:gd name="T19" fmla="*/ 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56">
                  <a:moveTo>
                    <a:pt x="24" y="56"/>
                  </a:moveTo>
                  <a:cubicBezTo>
                    <a:pt x="10" y="56"/>
                    <a:pt x="0" y="44"/>
                    <a:pt x="0" y="26"/>
                  </a:cubicBezTo>
                  <a:cubicBezTo>
                    <a:pt x="0" y="14"/>
                    <a:pt x="3" y="0"/>
                    <a:pt x="24" y="0"/>
                  </a:cubicBezTo>
                  <a:cubicBezTo>
                    <a:pt x="45" y="0"/>
                    <a:pt x="48" y="14"/>
                    <a:pt x="48" y="26"/>
                  </a:cubicBezTo>
                  <a:cubicBezTo>
                    <a:pt x="48" y="44"/>
                    <a:pt x="38" y="56"/>
                    <a:pt x="24" y="56"/>
                  </a:cubicBezTo>
                  <a:close/>
                  <a:moveTo>
                    <a:pt x="24" y="8"/>
                  </a:moveTo>
                  <a:cubicBezTo>
                    <a:pt x="12" y="8"/>
                    <a:pt x="8" y="13"/>
                    <a:pt x="8" y="26"/>
                  </a:cubicBezTo>
                  <a:cubicBezTo>
                    <a:pt x="8" y="37"/>
                    <a:pt x="14" y="48"/>
                    <a:pt x="24" y="48"/>
                  </a:cubicBezTo>
                  <a:cubicBezTo>
                    <a:pt x="34" y="48"/>
                    <a:pt x="40" y="37"/>
                    <a:pt x="40" y="26"/>
                  </a:cubicBezTo>
                  <a:cubicBezTo>
                    <a:pt x="40" y="13"/>
                    <a:pt x="36" y="8"/>
                    <a:pt x="24" y="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5" name="Freeform 169"/>
            <p:cNvSpPr>
              <a:spLocks/>
            </p:cNvSpPr>
            <p:nvPr/>
          </p:nvSpPr>
          <p:spPr bwMode="auto">
            <a:xfrm>
              <a:off x="4357688" y="3998913"/>
              <a:ext cx="169863" cy="82550"/>
            </a:xfrm>
            <a:custGeom>
              <a:avLst/>
              <a:gdLst>
                <a:gd name="T0" fmla="*/ 76 w 88"/>
                <a:gd name="T1" fmla="*/ 43 h 43"/>
                <a:gd name="T2" fmla="*/ 12 w 88"/>
                <a:gd name="T3" fmla="*/ 43 h 43"/>
                <a:gd name="T4" fmla="*/ 0 w 88"/>
                <a:gd name="T5" fmla="*/ 27 h 43"/>
                <a:gd name="T6" fmla="*/ 0 w 88"/>
                <a:gd name="T7" fmla="*/ 17 h 43"/>
                <a:gd name="T8" fmla="*/ 30 w 88"/>
                <a:gd name="T9" fmla="*/ 0 h 43"/>
                <a:gd name="T10" fmla="*/ 34 w 88"/>
                <a:gd name="T11" fmla="*/ 7 h 43"/>
                <a:gd name="T12" fmla="*/ 8 w 88"/>
                <a:gd name="T13" fmla="*/ 22 h 43"/>
                <a:gd name="T14" fmla="*/ 8 w 88"/>
                <a:gd name="T15" fmla="*/ 27 h 43"/>
                <a:gd name="T16" fmla="*/ 12 w 88"/>
                <a:gd name="T17" fmla="*/ 35 h 43"/>
                <a:gd name="T18" fmla="*/ 76 w 88"/>
                <a:gd name="T19" fmla="*/ 35 h 43"/>
                <a:gd name="T20" fmla="*/ 80 w 88"/>
                <a:gd name="T21" fmla="*/ 27 h 43"/>
                <a:gd name="T22" fmla="*/ 80 w 88"/>
                <a:gd name="T23" fmla="*/ 22 h 43"/>
                <a:gd name="T24" fmla="*/ 54 w 88"/>
                <a:gd name="T25" fmla="*/ 7 h 43"/>
                <a:gd name="T26" fmla="*/ 58 w 88"/>
                <a:gd name="T27" fmla="*/ 0 h 43"/>
                <a:gd name="T28" fmla="*/ 88 w 88"/>
                <a:gd name="T29" fmla="*/ 17 h 43"/>
                <a:gd name="T30" fmla="*/ 88 w 88"/>
                <a:gd name="T31" fmla="*/ 27 h 43"/>
                <a:gd name="T32" fmla="*/ 76 w 88"/>
                <a:gd name="T3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" h="43">
                  <a:moveTo>
                    <a:pt x="76" y="43"/>
                  </a:moveTo>
                  <a:cubicBezTo>
                    <a:pt x="12" y="43"/>
                    <a:pt x="12" y="43"/>
                    <a:pt x="12" y="43"/>
                  </a:cubicBezTo>
                  <a:cubicBezTo>
                    <a:pt x="5" y="43"/>
                    <a:pt x="0" y="36"/>
                    <a:pt x="0" y="2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32"/>
                    <a:pt x="11" y="35"/>
                    <a:pt x="12" y="35"/>
                  </a:cubicBezTo>
                  <a:cubicBezTo>
                    <a:pt x="76" y="35"/>
                    <a:pt x="76" y="35"/>
                    <a:pt x="76" y="35"/>
                  </a:cubicBezTo>
                  <a:cubicBezTo>
                    <a:pt x="77" y="35"/>
                    <a:pt x="80" y="32"/>
                    <a:pt x="80" y="27"/>
                  </a:cubicBezTo>
                  <a:cubicBezTo>
                    <a:pt x="80" y="22"/>
                    <a:pt x="80" y="22"/>
                    <a:pt x="80" y="22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8" y="17"/>
                    <a:pt x="88" y="17"/>
                    <a:pt x="88" y="17"/>
                  </a:cubicBezTo>
                  <a:cubicBezTo>
                    <a:pt x="88" y="27"/>
                    <a:pt x="88" y="27"/>
                    <a:pt x="88" y="27"/>
                  </a:cubicBezTo>
                  <a:cubicBezTo>
                    <a:pt x="88" y="36"/>
                    <a:pt x="82" y="43"/>
                    <a:pt x="76" y="4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6" name="Freeform 170"/>
            <p:cNvSpPr>
              <a:spLocks noEditPoints="1"/>
            </p:cNvSpPr>
            <p:nvPr/>
          </p:nvSpPr>
          <p:spPr bwMode="auto">
            <a:xfrm>
              <a:off x="4722813" y="3584576"/>
              <a:ext cx="92075" cy="107950"/>
            </a:xfrm>
            <a:custGeom>
              <a:avLst/>
              <a:gdLst>
                <a:gd name="T0" fmla="*/ 24 w 48"/>
                <a:gd name="T1" fmla="*/ 56 h 56"/>
                <a:gd name="T2" fmla="*/ 0 w 48"/>
                <a:gd name="T3" fmla="*/ 26 h 56"/>
                <a:gd name="T4" fmla="*/ 24 w 48"/>
                <a:gd name="T5" fmla="*/ 0 h 56"/>
                <a:gd name="T6" fmla="*/ 48 w 48"/>
                <a:gd name="T7" fmla="*/ 26 h 56"/>
                <a:gd name="T8" fmla="*/ 24 w 48"/>
                <a:gd name="T9" fmla="*/ 56 h 56"/>
                <a:gd name="T10" fmla="*/ 24 w 48"/>
                <a:gd name="T11" fmla="*/ 8 h 56"/>
                <a:gd name="T12" fmla="*/ 8 w 48"/>
                <a:gd name="T13" fmla="*/ 26 h 56"/>
                <a:gd name="T14" fmla="*/ 24 w 48"/>
                <a:gd name="T15" fmla="*/ 48 h 56"/>
                <a:gd name="T16" fmla="*/ 40 w 48"/>
                <a:gd name="T17" fmla="*/ 26 h 56"/>
                <a:gd name="T18" fmla="*/ 24 w 48"/>
                <a:gd name="T19" fmla="*/ 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56">
                  <a:moveTo>
                    <a:pt x="24" y="56"/>
                  </a:moveTo>
                  <a:cubicBezTo>
                    <a:pt x="10" y="56"/>
                    <a:pt x="0" y="44"/>
                    <a:pt x="0" y="26"/>
                  </a:cubicBezTo>
                  <a:cubicBezTo>
                    <a:pt x="0" y="14"/>
                    <a:pt x="3" y="0"/>
                    <a:pt x="24" y="0"/>
                  </a:cubicBezTo>
                  <a:cubicBezTo>
                    <a:pt x="45" y="0"/>
                    <a:pt x="48" y="14"/>
                    <a:pt x="48" y="26"/>
                  </a:cubicBezTo>
                  <a:cubicBezTo>
                    <a:pt x="48" y="44"/>
                    <a:pt x="38" y="56"/>
                    <a:pt x="24" y="56"/>
                  </a:cubicBezTo>
                  <a:close/>
                  <a:moveTo>
                    <a:pt x="24" y="8"/>
                  </a:moveTo>
                  <a:cubicBezTo>
                    <a:pt x="12" y="8"/>
                    <a:pt x="8" y="13"/>
                    <a:pt x="8" y="26"/>
                  </a:cubicBezTo>
                  <a:cubicBezTo>
                    <a:pt x="8" y="37"/>
                    <a:pt x="14" y="48"/>
                    <a:pt x="24" y="48"/>
                  </a:cubicBezTo>
                  <a:cubicBezTo>
                    <a:pt x="34" y="48"/>
                    <a:pt x="40" y="37"/>
                    <a:pt x="40" y="26"/>
                  </a:cubicBezTo>
                  <a:cubicBezTo>
                    <a:pt x="40" y="13"/>
                    <a:pt x="36" y="8"/>
                    <a:pt x="24" y="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7" name="Freeform 171"/>
            <p:cNvSpPr>
              <a:spLocks/>
            </p:cNvSpPr>
            <p:nvPr/>
          </p:nvSpPr>
          <p:spPr bwMode="auto">
            <a:xfrm>
              <a:off x="4683126" y="3671888"/>
              <a:ext cx="171450" cy="84138"/>
            </a:xfrm>
            <a:custGeom>
              <a:avLst/>
              <a:gdLst>
                <a:gd name="T0" fmla="*/ 76 w 88"/>
                <a:gd name="T1" fmla="*/ 43 h 43"/>
                <a:gd name="T2" fmla="*/ 12 w 88"/>
                <a:gd name="T3" fmla="*/ 43 h 43"/>
                <a:gd name="T4" fmla="*/ 0 w 88"/>
                <a:gd name="T5" fmla="*/ 27 h 43"/>
                <a:gd name="T6" fmla="*/ 0 w 88"/>
                <a:gd name="T7" fmla="*/ 17 h 43"/>
                <a:gd name="T8" fmla="*/ 30 w 88"/>
                <a:gd name="T9" fmla="*/ 0 h 43"/>
                <a:gd name="T10" fmla="*/ 34 w 88"/>
                <a:gd name="T11" fmla="*/ 7 h 43"/>
                <a:gd name="T12" fmla="*/ 8 w 88"/>
                <a:gd name="T13" fmla="*/ 22 h 43"/>
                <a:gd name="T14" fmla="*/ 8 w 88"/>
                <a:gd name="T15" fmla="*/ 27 h 43"/>
                <a:gd name="T16" fmla="*/ 12 w 88"/>
                <a:gd name="T17" fmla="*/ 35 h 43"/>
                <a:gd name="T18" fmla="*/ 76 w 88"/>
                <a:gd name="T19" fmla="*/ 35 h 43"/>
                <a:gd name="T20" fmla="*/ 80 w 88"/>
                <a:gd name="T21" fmla="*/ 27 h 43"/>
                <a:gd name="T22" fmla="*/ 80 w 88"/>
                <a:gd name="T23" fmla="*/ 22 h 43"/>
                <a:gd name="T24" fmla="*/ 54 w 88"/>
                <a:gd name="T25" fmla="*/ 7 h 43"/>
                <a:gd name="T26" fmla="*/ 58 w 88"/>
                <a:gd name="T27" fmla="*/ 0 h 43"/>
                <a:gd name="T28" fmla="*/ 88 w 88"/>
                <a:gd name="T29" fmla="*/ 17 h 43"/>
                <a:gd name="T30" fmla="*/ 88 w 88"/>
                <a:gd name="T31" fmla="*/ 27 h 43"/>
                <a:gd name="T32" fmla="*/ 76 w 88"/>
                <a:gd name="T3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" h="43">
                  <a:moveTo>
                    <a:pt x="76" y="43"/>
                  </a:moveTo>
                  <a:cubicBezTo>
                    <a:pt x="12" y="43"/>
                    <a:pt x="12" y="43"/>
                    <a:pt x="12" y="43"/>
                  </a:cubicBezTo>
                  <a:cubicBezTo>
                    <a:pt x="5" y="43"/>
                    <a:pt x="0" y="36"/>
                    <a:pt x="0" y="2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32"/>
                    <a:pt x="11" y="35"/>
                    <a:pt x="12" y="35"/>
                  </a:cubicBezTo>
                  <a:cubicBezTo>
                    <a:pt x="76" y="35"/>
                    <a:pt x="76" y="35"/>
                    <a:pt x="76" y="35"/>
                  </a:cubicBezTo>
                  <a:cubicBezTo>
                    <a:pt x="77" y="35"/>
                    <a:pt x="80" y="32"/>
                    <a:pt x="80" y="27"/>
                  </a:cubicBezTo>
                  <a:cubicBezTo>
                    <a:pt x="80" y="22"/>
                    <a:pt x="80" y="22"/>
                    <a:pt x="80" y="22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8" y="17"/>
                    <a:pt x="88" y="17"/>
                    <a:pt x="88" y="17"/>
                  </a:cubicBezTo>
                  <a:cubicBezTo>
                    <a:pt x="88" y="27"/>
                    <a:pt x="88" y="27"/>
                    <a:pt x="88" y="27"/>
                  </a:cubicBezTo>
                  <a:cubicBezTo>
                    <a:pt x="88" y="36"/>
                    <a:pt x="82" y="43"/>
                    <a:pt x="76" y="4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59" name="Группа 58"/>
          <p:cNvGrpSpPr/>
          <p:nvPr/>
        </p:nvGrpSpPr>
        <p:grpSpPr>
          <a:xfrm>
            <a:off x="5665063" y="2679482"/>
            <a:ext cx="409339" cy="339148"/>
            <a:chOff x="1879601" y="2894013"/>
            <a:chExt cx="495300" cy="373063"/>
          </a:xfrm>
          <a:solidFill>
            <a:srgbClr val="1BCCB3"/>
          </a:solidFill>
        </p:grpSpPr>
        <p:sp>
          <p:nvSpPr>
            <p:cNvPr id="60" name="Freeform 30"/>
            <p:cNvSpPr>
              <a:spLocks/>
            </p:cNvSpPr>
            <p:nvPr/>
          </p:nvSpPr>
          <p:spPr bwMode="auto">
            <a:xfrm>
              <a:off x="2281238" y="2894013"/>
              <a:ext cx="63500" cy="61913"/>
            </a:xfrm>
            <a:custGeom>
              <a:avLst/>
              <a:gdLst>
                <a:gd name="T0" fmla="*/ 40 w 40"/>
                <a:gd name="T1" fmla="*/ 39 h 39"/>
                <a:gd name="T2" fmla="*/ 30 w 40"/>
                <a:gd name="T3" fmla="*/ 39 h 39"/>
                <a:gd name="T4" fmla="*/ 30 w 40"/>
                <a:gd name="T5" fmla="*/ 10 h 39"/>
                <a:gd name="T6" fmla="*/ 0 w 40"/>
                <a:gd name="T7" fmla="*/ 10 h 39"/>
                <a:gd name="T8" fmla="*/ 0 w 40"/>
                <a:gd name="T9" fmla="*/ 0 h 39"/>
                <a:gd name="T10" fmla="*/ 40 w 40"/>
                <a:gd name="T11" fmla="*/ 0 h 39"/>
                <a:gd name="T12" fmla="*/ 40 w 40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39">
                  <a:moveTo>
                    <a:pt x="40" y="39"/>
                  </a:moveTo>
                  <a:lnTo>
                    <a:pt x="30" y="39"/>
                  </a:lnTo>
                  <a:lnTo>
                    <a:pt x="30" y="10"/>
                  </a:lnTo>
                  <a:lnTo>
                    <a:pt x="0" y="10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61" name="Freeform 31"/>
            <p:cNvSpPr>
              <a:spLocks/>
            </p:cNvSpPr>
            <p:nvPr/>
          </p:nvSpPr>
          <p:spPr bwMode="auto">
            <a:xfrm>
              <a:off x="1973263" y="2898776"/>
              <a:ext cx="368300" cy="242888"/>
            </a:xfrm>
            <a:custGeom>
              <a:avLst/>
              <a:gdLst>
                <a:gd name="T0" fmla="*/ 8 w 232"/>
                <a:gd name="T1" fmla="*/ 153 h 153"/>
                <a:gd name="T2" fmla="*/ 0 w 232"/>
                <a:gd name="T3" fmla="*/ 146 h 153"/>
                <a:gd name="T4" fmla="*/ 87 w 232"/>
                <a:gd name="T5" fmla="*/ 60 h 153"/>
                <a:gd name="T6" fmla="*/ 126 w 232"/>
                <a:gd name="T7" fmla="*/ 99 h 153"/>
                <a:gd name="T8" fmla="*/ 225 w 232"/>
                <a:gd name="T9" fmla="*/ 0 h 153"/>
                <a:gd name="T10" fmla="*/ 232 w 232"/>
                <a:gd name="T11" fmla="*/ 6 h 153"/>
                <a:gd name="T12" fmla="*/ 126 w 232"/>
                <a:gd name="T13" fmla="*/ 112 h 153"/>
                <a:gd name="T14" fmla="*/ 87 w 232"/>
                <a:gd name="T15" fmla="*/ 73 h 153"/>
                <a:gd name="T16" fmla="*/ 8 w 232"/>
                <a:gd name="T17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2" h="153">
                  <a:moveTo>
                    <a:pt x="8" y="153"/>
                  </a:moveTo>
                  <a:lnTo>
                    <a:pt x="0" y="146"/>
                  </a:lnTo>
                  <a:lnTo>
                    <a:pt x="87" y="60"/>
                  </a:lnTo>
                  <a:lnTo>
                    <a:pt x="126" y="99"/>
                  </a:lnTo>
                  <a:lnTo>
                    <a:pt x="225" y="0"/>
                  </a:lnTo>
                  <a:lnTo>
                    <a:pt x="232" y="6"/>
                  </a:lnTo>
                  <a:lnTo>
                    <a:pt x="126" y="112"/>
                  </a:lnTo>
                  <a:lnTo>
                    <a:pt x="87" y="73"/>
                  </a:lnTo>
                  <a:lnTo>
                    <a:pt x="8" y="1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62" name="Freeform 32"/>
            <p:cNvSpPr>
              <a:spLocks noEditPoints="1"/>
            </p:cNvSpPr>
            <p:nvPr/>
          </p:nvSpPr>
          <p:spPr bwMode="auto">
            <a:xfrm>
              <a:off x="1879601" y="3205163"/>
              <a:ext cx="495300" cy="61913"/>
            </a:xfrm>
            <a:custGeom>
              <a:avLst/>
              <a:gdLst>
                <a:gd name="T0" fmla="*/ 290 w 312"/>
                <a:gd name="T1" fmla="*/ 39 h 39"/>
                <a:gd name="T2" fmla="*/ 23 w 312"/>
                <a:gd name="T3" fmla="*/ 39 h 39"/>
                <a:gd name="T4" fmla="*/ 0 w 312"/>
                <a:gd name="T5" fmla="*/ 17 h 39"/>
                <a:gd name="T6" fmla="*/ 0 w 312"/>
                <a:gd name="T7" fmla="*/ 0 h 39"/>
                <a:gd name="T8" fmla="*/ 124 w 312"/>
                <a:gd name="T9" fmla="*/ 0 h 39"/>
                <a:gd name="T10" fmla="*/ 134 w 312"/>
                <a:gd name="T11" fmla="*/ 10 h 39"/>
                <a:gd name="T12" fmla="*/ 179 w 312"/>
                <a:gd name="T13" fmla="*/ 10 h 39"/>
                <a:gd name="T14" fmla="*/ 189 w 312"/>
                <a:gd name="T15" fmla="*/ 0 h 39"/>
                <a:gd name="T16" fmla="*/ 312 w 312"/>
                <a:gd name="T17" fmla="*/ 0 h 39"/>
                <a:gd name="T18" fmla="*/ 312 w 312"/>
                <a:gd name="T19" fmla="*/ 17 h 39"/>
                <a:gd name="T20" fmla="*/ 290 w 312"/>
                <a:gd name="T21" fmla="*/ 39 h 39"/>
                <a:gd name="T22" fmla="*/ 26 w 312"/>
                <a:gd name="T23" fmla="*/ 29 h 39"/>
                <a:gd name="T24" fmla="*/ 286 w 312"/>
                <a:gd name="T25" fmla="*/ 29 h 39"/>
                <a:gd name="T26" fmla="*/ 302 w 312"/>
                <a:gd name="T27" fmla="*/ 13 h 39"/>
                <a:gd name="T28" fmla="*/ 302 w 312"/>
                <a:gd name="T29" fmla="*/ 10 h 39"/>
                <a:gd name="T30" fmla="*/ 192 w 312"/>
                <a:gd name="T31" fmla="*/ 10 h 39"/>
                <a:gd name="T32" fmla="*/ 183 w 312"/>
                <a:gd name="T33" fmla="*/ 19 h 39"/>
                <a:gd name="T34" fmla="*/ 130 w 312"/>
                <a:gd name="T35" fmla="*/ 19 h 39"/>
                <a:gd name="T36" fmla="*/ 120 w 312"/>
                <a:gd name="T37" fmla="*/ 10 h 39"/>
                <a:gd name="T38" fmla="*/ 9 w 312"/>
                <a:gd name="T39" fmla="*/ 10 h 39"/>
                <a:gd name="T40" fmla="*/ 9 w 312"/>
                <a:gd name="T41" fmla="*/ 13 h 39"/>
                <a:gd name="T42" fmla="*/ 26 w 312"/>
                <a:gd name="T43" fmla="*/ 2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12" h="39">
                  <a:moveTo>
                    <a:pt x="290" y="39"/>
                  </a:moveTo>
                  <a:lnTo>
                    <a:pt x="23" y="39"/>
                  </a:lnTo>
                  <a:lnTo>
                    <a:pt x="0" y="17"/>
                  </a:lnTo>
                  <a:lnTo>
                    <a:pt x="0" y="0"/>
                  </a:lnTo>
                  <a:lnTo>
                    <a:pt x="124" y="0"/>
                  </a:lnTo>
                  <a:lnTo>
                    <a:pt x="134" y="10"/>
                  </a:lnTo>
                  <a:lnTo>
                    <a:pt x="179" y="10"/>
                  </a:lnTo>
                  <a:lnTo>
                    <a:pt x="189" y="0"/>
                  </a:lnTo>
                  <a:lnTo>
                    <a:pt x="312" y="0"/>
                  </a:lnTo>
                  <a:lnTo>
                    <a:pt x="312" y="17"/>
                  </a:lnTo>
                  <a:lnTo>
                    <a:pt x="290" y="39"/>
                  </a:lnTo>
                  <a:close/>
                  <a:moveTo>
                    <a:pt x="26" y="29"/>
                  </a:moveTo>
                  <a:lnTo>
                    <a:pt x="286" y="29"/>
                  </a:lnTo>
                  <a:lnTo>
                    <a:pt x="302" y="13"/>
                  </a:lnTo>
                  <a:lnTo>
                    <a:pt x="302" y="10"/>
                  </a:lnTo>
                  <a:lnTo>
                    <a:pt x="192" y="10"/>
                  </a:lnTo>
                  <a:lnTo>
                    <a:pt x="183" y="19"/>
                  </a:lnTo>
                  <a:lnTo>
                    <a:pt x="130" y="19"/>
                  </a:lnTo>
                  <a:lnTo>
                    <a:pt x="120" y="10"/>
                  </a:lnTo>
                  <a:lnTo>
                    <a:pt x="9" y="10"/>
                  </a:lnTo>
                  <a:lnTo>
                    <a:pt x="9" y="13"/>
                  </a:lnTo>
                  <a:lnTo>
                    <a:pt x="26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63" name="Freeform 33"/>
            <p:cNvSpPr>
              <a:spLocks/>
            </p:cNvSpPr>
            <p:nvPr/>
          </p:nvSpPr>
          <p:spPr bwMode="auto">
            <a:xfrm>
              <a:off x="1909763" y="2894013"/>
              <a:ext cx="341313" cy="295275"/>
            </a:xfrm>
            <a:custGeom>
              <a:avLst/>
              <a:gdLst>
                <a:gd name="T0" fmla="*/ 8 w 176"/>
                <a:gd name="T1" fmla="*/ 152 h 152"/>
                <a:gd name="T2" fmla="*/ 0 w 176"/>
                <a:gd name="T3" fmla="*/ 152 h 152"/>
                <a:gd name="T4" fmla="*/ 0 w 176"/>
                <a:gd name="T5" fmla="*/ 16 h 152"/>
                <a:gd name="T6" fmla="*/ 16 w 176"/>
                <a:gd name="T7" fmla="*/ 0 h 152"/>
                <a:gd name="T8" fmla="*/ 176 w 176"/>
                <a:gd name="T9" fmla="*/ 0 h 152"/>
                <a:gd name="T10" fmla="*/ 176 w 176"/>
                <a:gd name="T11" fmla="*/ 8 h 152"/>
                <a:gd name="T12" fmla="*/ 16 w 176"/>
                <a:gd name="T13" fmla="*/ 8 h 152"/>
                <a:gd name="T14" fmla="*/ 8 w 176"/>
                <a:gd name="T15" fmla="*/ 16 h 152"/>
                <a:gd name="T16" fmla="*/ 8 w 176"/>
                <a:gd name="T17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52">
                  <a:moveTo>
                    <a:pt x="8" y="152"/>
                  </a:moveTo>
                  <a:cubicBezTo>
                    <a:pt x="0" y="152"/>
                    <a:pt x="0" y="152"/>
                    <a:pt x="0" y="15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76" y="8"/>
                    <a:pt x="176" y="8"/>
                    <a:pt x="17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2" y="8"/>
                    <a:pt x="8" y="12"/>
                    <a:pt x="8" y="16"/>
                  </a:cubicBezTo>
                  <a:lnTo>
                    <a:pt x="8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2328863" y="2987676"/>
              <a:ext cx="15875" cy="201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65" name="Freeform 35"/>
            <p:cNvSpPr>
              <a:spLocks/>
            </p:cNvSpPr>
            <p:nvPr/>
          </p:nvSpPr>
          <p:spPr bwMode="auto">
            <a:xfrm>
              <a:off x="1941513" y="2925763"/>
              <a:ext cx="371475" cy="247650"/>
            </a:xfrm>
            <a:custGeom>
              <a:avLst/>
              <a:gdLst>
                <a:gd name="T0" fmla="*/ 234 w 234"/>
                <a:gd name="T1" fmla="*/ 156 h 156"/>
                <a:gd name="T2" fmla="*/ 0 w 234"/>
                <a:gd name="T3" fmla="*/ 156 h 156"/>
                <a:gd name="T4" fmla="*/ 0 w 234"/>
                <a:gd name="T5" fmla="*/ 0 h 156"/>
                <a:gd name="T6" fmla="*/ 195 w 234"/>
                <a:gd name="T7" fmla="*/ 0 h 156"/>
                <a:gd name="T8" fmla="*/ 195 w 234"/>
                <a:gd name="T9" fmla="*/ 10 h 156"/>
                <a:gd name="T10" fmla="*/ 9 w 234"/>
                <a:gd name="T11" fmla="*/ 10 h 156"/>
                <a:gd name="T12" fmla="*/ 9 w 234"/>
                <a:gd name="T13" fmla="*/ 147 h 156"/>
                <a:gd name="T14" fmla="*/ 224 w 234"/>
                <a:gd name="T15" fmla="*/ 147 h 156"/>
                <a:gd name="T16" fmla="*/ 224 w 234"/>
                <a:gd name="T17" fmla="*/ 39 h 156"/>
                <a:gd name="T18" fmla="*/ 234 w 234"/>
                <a:gd name="T19" fmla="*/ 39 h 156"/>
                <a:gd name="T20" fmla="*/ 234 w 234"/>
                <a:gd name="T21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4" h="156">
                  <a:moveTo>
                    <a:pt x="234" y="156"/>
                  </a:moveTo>
                  <a:lnTo>
                    <a:pt x="0" y="156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10"/>
                  </a:lnTo>
                  <a:lnTo>
                    <a:pt x="9" y="10"/>
                  </a:lnTo>
                  <a:lnTo>
                    <a:pt x="9" y="147"/>
                  </a:lnTo>
                  <a:lnTo>
                    <a:pt x="224" y="147"/>
                  </a:lnTo>
                  <a:lnTo>
                    <a:pt x="224" y="39"/>
                  </a:lnTo>
                  <a:lnTo>
                    <a:pt x="234" y="39"/>
                  </a:lnTo>
                  <a:lnTo>
                    <a:pt x="234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2057401" y="3095626"/>
              <a:ext cx="158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67" name="Rectangle 37"/>
            <p:cNvSpPr>
              <a:spLocks noChangeArrowheads="1"/>
            </p:cNvSpPr>
            <p:nvPr/>
          </p:nvSpPr>
          <p:spPr bwMode="auto">
            <a:xfrm>
              <a:off x="2025651" y="3127376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68" name="Rectangle 38"/>
            <p:cNvSpPr>
              <a:spLocks noChangeArrowheads="1"/>
            </p:cNvSpPr>
            <p:nvPr/>
          </p:nvSpPr>
          <p:spPr bwMode="auto">
            <a:xfrm>
              <a:off x="2087563" y="3065463"/>
              <a:ext cx="15875" cy="777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69" name="Rectangle 39"/>
            <p:cNvSpPr>
              <a:spLocks noChangeArrowheads="1"/>
            </p:cNvSpPr>
            <p:nvPr/>
          </p:nvSpPr>
          <p:spPr bwMode="auto">
            <a:xfrm>
              <a:off x="2119313" y="3065463"/>
              <a:ext cx="15875" cy="777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70" name="Rectangle 40"/>
            <p:cNvSpPr>
              <a:spLocks noChangeArrowheads="1"/>
            </p:cNvSpPr>
            <p:nvPr/>
          </p:nvSpPr>
          <p:spPr bwMode="auto">
            <a:xfrm>
              <a:off x="2149476" y="3095626"/>
              <a:ext cx="158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2181226" y="3095626"/>
              <a:ext cx="158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2212976" y="3065463"/>
              <a:ext cx="14288" cy="777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73" name="Rectangle 43"/>
            <p:cNvSpPr>
              <a:spLocks noChangeArrowheads="1"/>
            </p:cNvSpPr>
            <p:nvPr/>
          </p:nvSpPr>
          <p:spPr bwMode="auto">
            <a:xfrm>
              <a:off x="2243138" y="3033713"/>
              <a:ext cx="15875" cy="109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29397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Прямоугольник 75"/>
          <p:cNvSpPr/>
          <p:nvPr/>
        </p:nvSpPr>
        <p:spPr>
          <a:xfrm>
            <a:off x="115540" y="1099335"/>
            <a:ext cx="4716667" cy="5198723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1B9649A-8A7A-434E-A9A5-447A515964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25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B1B9649A-8A7A-434E-A9A5-447A51596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992FC779-CBCA-1C4F-ABBF-572EB2195FA8}"/>
              </a:ext>
            </a:extLst>
          </p:cNvPr>
          <p:cNvSpPr/>
          <p:nvPr/>
        </p:nvSpPr>
        <p:spPr>
          <a:xfrm>
            <a:off x="803049" y="278754"/>
            <a:ext cx="11284816" cy="829054"/>
          </a:xfrm>
          <a:prstGeom prst="rect">
            <a:avLst/>
          </a:prstGeom>
        </p:spPr>
        <p:txBody>
          <a:bodyPr wrap="square" lIns="121485" tIns="60760" rIns="121485" bIns="60760">
            <a:spAutoFit/>
          </a:bodyPr>
          <a:lstStyle/>
          <a:p>
            <a:pPr lvl="0">
              <a:lnSpc>
                <a:spcPct val="85000"/>
              </a:lnSpc>
              <a:spcBef>
                <a:spcPct val="0"/>
              </a:spcBef>
              <a:defRPr/>
            </a:pPr>
            <a:r>
              <a:rPr lang="ru-RU" sz="3000" b="1" dirty="0">
                <a:solidFill>
                  <a:srgbClr val="1BCCB3"/>
                </a:solidFill>
              </a:rPr>
              <a:t>Создание единого портала объектов </a:t>
            </a:r>
            <a:r>
              <a:rPr lang="ru-RU" sz="3000" b="1" dirty="0" smtClean="0">
                <a:solidFill>
                  <a:srgbClr val="1BCCB3"/>
                </a:solidFill>
              </a:rPr>
              <a:t>культуры</a:t>
            </a:r>
          </a:p>
          <a:p>
            <a:pPr lvl="0">
              <a:lnSpc>
                <a:spcPct val="85000"/>
              </a:lnSpc>
              <a:spcBef>
                <a:spcPct val="0"/>
              </a:spcBef>
              <a:defRPr/>
            </a:pPr>
            <a:r>
              <a:rPr lang="ru-RU" sz="2400" dirty="0">
                <a:solidFill>
                  <a:srgbClr val="1BCCB3"/>
                </a:solidFill>
              </a:rPr>
              <a:t>д</a:t>
            </a:r>
            <a:r>
              <a:rPr lang="ru-RU" sz="2400" dirty="0" smtClean="0">
                <a:solidFill>
                  <a:srgbClr val="1BCCB3"/>
                </a:solidFill>
              </a:rPr>
              <a:t>ля целей привлечения и работы с инвесторами</a:t>
            </a:r>
            <a:endParaRPr lang="ru-RU" sz="2400" dirty="0">
              <a:solidFill>
                <a:srgbClr val="1BCCB3"/>
              </a:solidFill>
            </a:endParaRPr>
          </a:p>
        </p:txBody>
      </p:sp>
      <p:sp>
        <p:nvSpPr>
          <p:cNvPr id="27" name="Овал 26"/>
          <p:cNvSpPr/>
          <p:nvPr/>
        </p:nvSpPr>
        <p:spPr>
          <a:xfrm>
            <a:off x="122989" y="288386"/>
            <a:ext cx="573986" cy="573986"/>
          </a:xfrm>
          <a:prstGeom prst="ellipse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2</a:t>
            </a: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191382" y="1613388"/>
            <a:ext cx="5613623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E644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Проблема:</a:t>
            </a:r>
          </a:p>
          <a:p>
            <a:pPr lvl="0">
              <a:spcAft>
                <a:spcPts val="600"/>
              </a:spcAft>
              <a:defRPr/>
            </a:pPr>
            <a:r>
              <a:rPr lang="ru-RU" sz="1400" dirty="0">
                <a:solidFill>
                  <a:prstClr val="white"/>
                </a:solidFill>
              </a:rPr>
              <a:t>Отсутствие единого источника информации об объектах культуры в качестве объектов потенциальных инвестиций и участия населения в выборе приоритетов (</a:t>
            </a:r>
            <a:r>
              <a:rPr lang="ru-RU" sz="1400" dirty="0" err="1">
                <a:solidFill>
                  <a:prstClr val="white"/>
                </a:solidFill>
              </a:rPr>
              <a:t>краудсорсинг</a:t>
            </a:r>
            <a:r>
              <a:rPr lang="ru-RU" sz="1400" dirty="0" smtClean="0">
                <a:solidFill>
                  <a:prstClr val="white"/>
                </a:solidFill>
              </a:rPr>
              <a:t>)</a:t>
            </a: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191382" y="3103192"/>
            <a:ext cx="5428689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Результат: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white"/>
                </a:solidFill>
              </a:rPr>
              <a:t>Портал создан </a:t>
            </a:r>
            <a:r>
              <a:rPr lang="en-GB" sz="1400" dirty="0" smtClean="0">
                <a:solidFill>
                  <a:prstClr val="white"/>
                </a:solidFill>
              </a:rPr>
              <a:t>(</a:t>
            </a:r>
            <a:r>
              <a:rPr lang="ru-RU" sz="1400" dirty="0" smtClean="0">
                <a:solidFill>
                  <a:prstClr val="white"/>
                </a:solidFill>
              </a:rPr>
              <a:t>на базе портала </a:t>
            </a:r>
            <a:r>
              <a:rPr lang="ru-RU" sz="1400" dirty="0" err="1" smtClean="0">
                <a:solidFill>
                  <a:prstClr val="white"/>
                </a:solidFill>
              </a:rPr>
              <a:t>Культура.РФ</a:t>
            </a:r>
            <a:r>
              <a:rPr lang="ru-RU" sz="1400" dirty="0" smtClean="0">
                <a:solidFill>
                  <a:prstClr val="white"/>
                </a:solidFill>
              </a:rPr>
              <a:t>) и </a:t>
            </a:r>
            <a:r>
              <a:rPr lang="ru-RU" sz="1400" dirty="0">
                <a:solidFill>
                  <a:prstClr val="white"/>
                </a:solidFill>
              </a:rPr>
              <a:t>запущен в промышленную эксплуатацию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white"/>
                </a:solidFill>
              </a:rPr>
              <a:t>На портале размещена информация о не менее, чем 10 000 </a:t>
            </a:r>
            <a:r>
              <a:rPr lang="ru-RU" sz="1400" dirty="0" smtClean="0">
                <a:solidFill>
                  <a:prstClr val="white"/>
                </a:solidFill>
              </a:rPr>
              <a:t>объектах </a:t>
            </a:r>
            <a:r>
              <a:rPr lang="ru-RU" sz="1400" dirty="0">
                <a:solidFill>
                  <a:prstClr val="white"/>
                </a:solidFill>
              </a:rPr>
              <a:t>культуры к 2024 году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231431" y="5155734"/>
            <a:ext cx="5799607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4AAC1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Ресурсы и финансирование:</a:t>
            </a:r>
          </a:p>
          <a:p>
            <a:pPr lvl="0">
              <a:spcAft>
                <a:spcPts val="600"/>
              </a:spcAft>
              <a:defRPr/>
            </a:pPr>
            <a:r>
              <a:rPr lang="en-US" sz="1400" dirty="0">
                <a:solidFill>
                  <a:prstClr val="white"/>
                </a:solidFill>
              </a:rPr>
              <a:t>~ 20-25 </a:t>
            </a:r>
            <a:r>
              <a:rPr lang="ru-RU" sz="1400" dirty="0" smtClean="0">
                <a:solidFill>
                  <a:prstClr val="white"/>
                </a:solidFill>
              </a:rPr>
              <a:t>млн </a:t>
            </a:r>
            <a:r>
              <a:rPr lang="ru-RU" sz="1400" dirty="0">
                <a:solidFill>
                  <a:prstClr val="white"/>
                </a:solidFill>
              </a:rPr>
              <a:t>рублей техническая разработка с учетом «подтягивания» информации из существующих источников </a:t>
            </a:r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>
            <a:off x="6305187" y="3016994"/>
            <a:ext cx="5499377" cy="0"/>
          </a:xfrm>
          <a:prstGeom prst="line">
            <a:avLst/>
          </a:prstGeom>
          <a:noFill/>
          <a:ln w="9525" cap="flat" cmpd="sng">
            <a:solidFill>
              <a:schemeClr val="bg1">
                <a:lumMod val="50000"/>
              </a:schemeClr>
            </a:solidFill>
            <a:prstDash val="sysDash"/>
            <a:round/>
            <a:headEnd type="none" w="sm" len="sm"/>
            <a:tailEnd type="none" w="sm" len="sm"/>
          </a:ln>
        </p:spPr>
      </p:cxnSp>
      <p:cxnSp>
        <p:nvCxnSpPr>
          <p:cNvPr id="40" name="Прямая соединительная линия 39"/>
          <p:cNvCxnSpPr/>
          <p:nvPr/>
        </p:nvCxnSpPr>
        <p:spPr>
          <a:xfrm>
            <a:off x="6305187" y="4957094"/>
            <a:ext cx="5499377" cy="0"/>
          </a:xfrm>
          <a:prstGeom prst="line">
            <a:avLst/>
          </a:prstGeom>
          <a:noFill/>
          <a:ln w="9525" cap="flat" cmpd="sng">
            <a:solidFill>
              <a:schemeClr val="bg1">
                <a:lumMod val="50000"/>
              </a:schemeClr>
            </a:solidFill>
            <a:prstDash val="sysDash"/>
            <a:round/>
            <a:headEnd type="none" w="sm" len="sm"/>
            <a:tailEnd type="none" w="sm" len="sm"/>
          </a:ln>
        </p:spPr>
      </p:cxnSp>
      <p:pic>
        <p:nvPicPr>
          <p:cNvPr id="42" name="Рисунок 41"/>
          <p:cNvPicPr>
            <a:picLocks noChangeAspect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15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9565" y="1592840"/>
            <a:ext cx="359625" cy="351552"/>
          </a:xfrm>
          <a:prstGeom prst="rect">
            <a:avLst/>
          </a:prstGeom>
        </p:spPr>
      </p:pic>
      <p:grpSp>
        <p:nvGrpSpPr>
          <p:cNvPr id="47" name="Группа 46"/>
          <p:cNvGrpSpPr/>
          <p:nvPr/>
        </p:nvGrpSpPr>
        <p:grpSpPr>
          <a:xfrm>
            <a:off x="5747052" y="5127212"/>
            <a:ext cx="451716" cy="451715"/>
            <a:chOff x="4357688" y="3584576"/>
            <a:chExt cx="496888" cy="496887"/>
          </a:xfrm>
          <a:solidFill>
            <a:srgbClr val="04AAC1"/>
          </a:solidFill>
        </p:grpSpPr>
        <p:sp>
          <p:nvSpPr>
            <p:cNvPr id="48" name="Freeform 162"/>
            <p:cNvSpPr>
              <a:spLocks/>
            </p:cNvSpPr>
            <p:nvPr/>
          </p:nvSpPr>
          <p:spPr bwMode="auto">
            <a:xfrm>
              <a:off x="4413251" y="3783013"/>
              <a:ext cx="74613" cy="42863"/>
            </a:xfrm>
            <a:custGeom>
              <a:avLst/>
              <a:gdLst>
                <a:gd name="T0" fmla="*/ 19 w 38"/>
                <a:gd name="T1" fmla="*/ 22 h 22"/>
                <a:gd name="T2" fmla="*/ 16 w 38"/>
                <a:gd name="T3" fmla="*/ 21 h 22"/>
                <a:gd name="T4" fmla="*/ 0 w 38"/>
                <a:gd name="T5" fmla="*/ 5 h 22"/>
                <a:gd name="T6" fmla="*/ 6 w 38"/>
                <a:gd name="T7" fmla="*/ 0 h 22"/>
                <a:gd name="T8" fmla="*/ 19 w 38"/>
                <a:gd name="T9" fmla="*/ 13 h 22"/>
                <a:gd name="T10" fmla="*/ 32 w 38"/>
                <a:gd name="T11" fmla="*/ 0 h 22"/>
                <a:gd name="T12" fmla="*/ 38 w 38"/>
                <a:gd name="T13" fmla="*/ 5 h 22"/>
                <a:gd name="T14" fmla="*/ 22 w 38"/>
                <a:gd name="T15" fmla="*/ 21 h 22"/>
                <a:gd name="T16" fmla="*/ 19 w 38"/>
                <a:gd name="T1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22">
                  <a:moveTo>
                    <a:pt x="19" y="22"/>
                  </a:moveTo>
                  <a:cubicBezTo>
                    <a:pt x="18" y="22"/>
                    <a:pt x="17" y="22"/>
                    <a:pt x="16" y="2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1" y="22"/>
                    <a:pt x="20" y="22"/>
                    <a:pt x="19" y="2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49" name="Freeform 163"/>
            <p:cNvSpPr>
              <a:spLocks/>
            </p:cNvSpPr>
            <p:nvPr/>
          </p:nvSpPr>
          <p:spPr bwMode="auto">
            <a:xfrm>
              <a:off x="4443413" y="3662363"/>
              <a:ext cx="209550" cy="155575"/>
            </a:xfrm>
            <a:custGeom>
              <a:avLst/>
              <a:gdLst>
                <a:gd name="T0" fmla="*/ 8 w 108"/>
                <a:gd name="T1" fmla="*/ 80 h 80"/>
                <a:gd name="T2" fmla="*/ 0 w 108"/>
                <a:gd name="T3" fmla="*/ 80 h 80"/>
                <a:gd name="T4" fmla="*/ 0 w 108"/>
                <a:gd name="T5" fmla="*/ 32 h 80"/>
                <a:gd name="T6" fmla="*/ 32 w 108"/>
                <a:gd name="T7" fmla="*/ 0 h 80"/>
                <a:gd name="T8" fmla="*/ 108 w 108"/>
                <a:gd name="T9" fmla="*/ 0 h 80"/>
                <a:gd name="T10" fmla="*/ 108 w 108"/>
                <a:gd name="T11" fmla="*/ 8 h 80"/>
                <a:gd name="T12" fmla="*/ 32 w 108"/>
                <a:gd name="T13" fmla="*/ 8 h 80"/>
                <a:gd name="T14" fmla="*/ 8 w 108"/>
                <a:gd name="T15" fmla="*/ 32 h 80"/>
                <a:gd name="T16" fmla="*/ 8 w 108"/>
                <a:gd name="T1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80">
                  <a:moveTo>
                    <a:pt x="8" y="8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5"/>
                    <a:pt x="14" y="0"/>
                    <a:pt x="32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8"/>
                    <a:pt x="108" y="8"/>
                    <a:pt x="108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19" y="8"/>
                    <a:pt x="8" y="19"/>
                    <a:pt x="8" y="32"/>
                  </a:cubicBezTo>
                  <a:lnTo>
                    <a:pt x="8" y="8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50" name="Freeform 164"/>
            <p:cNvSpPr>
              <a:spLocks/>
            </p:cNvSpPr>
            <p:nvPr/>
          </p:nvSpPr>
          <p:spPr bwMode="auto">
            <a:xfrm>
              <a:off x="4724401" y="3825876"/>
              <a:ext cx="73025" cy="44450"/>
            </a:xfrm>
            <a:custGeom>
              <a:avLst/>
              <a:gdLst>
                <a:gd name="T0" fmla="*/ 32 w 38"/>
                <a:gd name="T1" fmla="*/ 23 h 23"/>
                <a:gd name="T2" fmla="*/ 19 w 38"/>
                <a:gd name="T3" fmla="*/ 10 h 23"/>
                <a:gd name="T4" fmla="*/ 6 w 38"/>
                <a:gd name="T5" fmla="*/ 23 h 23"/>
                <a:gd name="T6" fmla="*/ 0 w 38"/>
                <a:gd name="T7" fmla="*/ 18 h 23"/>
                <a:gd name="T8" fmla="*/ 16 w 38"/>
                <a:gd name="T9" fmla="*/ 2 h 23"/>
                <a:gd name="T10" fmla="*/ 22 w 38"/>
                <a:gd name="T11" fmla="*/ 2 h 23"/>
                <a:gd name="T12" fmla="*/ 38 w 38"/>
                <a:gd name="T13" fmla="*/ 18 h 23"/>
                <a:gd name="T14" fmla="*/ 32 w 38"/>
                <a:gd name="T1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23">
                  <a:moveTo>
                    <a:pt x="32" y="23"/>
                  </a:moveTo>
                  <a:cubicBezTo>
                    <a:pt x="19" y="10"/>
                    <a:pt x="19" y="10"/>
                    <a:pt x="19" y="10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8" y="0"/>
                    <a:pt x="20" y="0"/>
                    <a:pt x="22" y="2"/>
                  </a:cubicBezTo>
                  <a:cubicBezTo>
                    <a:pt x="38" y="18"/>
                    <a:pt x="38" y="18"/>
                    <a:pt x="38" y="18"/>
                  </a:cubicBezTo>
                  <a:lnTo>
                    <a:pt x="32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51" name="Freeform 165"/>
            <p:cNvSpPr>
              <a:spLocks/>
            </p:cNvSpPr>
            <p:nvPr/>
          </p:nvSpPr>
          <p:spPr bwMode="auto">
            <a:xfrm>
              <a:off x="4559301" y="3833813"/>
              <a:ext cx="209550" cy="153988"/>
            </a:xfrm>
            <a:custGeom>
              <a:avLst/>
              <a:gdLst>
                <a:gd name="T0" fmla="*/ 76 w 108"/>
                <a:gd name="T1" fmla="*/ 80 h 80"/>
                <a:gd name="T2" fmla="*/ 0 w 108"/>
                <a:gd name="T3" fmla="*/ 80 h 80"/>
                <a:gd name="T4" fmla="*/ 0 w 108"/>
                <a:gd name="T5" fmla="*/ 72 h 80"/>
                <a:gd name="T6" fmla="*/ 76 w 108"/>
                <a:gd name="T7" fmla="*/ 72 h 80"/>
                <a:gd name="T8" fmla="*/ 100 w 108"/>
                <a:gd name="T9" fmla="*/ 48 h 80"/>
                <a:gd name="T10" fmla="*/ 100 w 108"/>
                <a:gd name="T11" fmla="*/ 0 h 80"/>
                <a:gd name="T12" fmla="*/ 108 w 108"/>
                <a:gd name="T13" fmla="*/ 0 h 80"/>
                <a:gd name="T14" fmla="*/ 108 w 108"/>
                <a:gd name="T15" fmla="*/ 48 h 80"/>
                <a:gd name="T16" fmla="*/ 76 w 108"/>
                <a:gd name="T1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80">
                  <a:moveTo>
                    <a:pt x="76" y="8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76" y="72"/>
                    <a:pt x="76" y="72"/>
                    <a:pt x="76" y="72"/>
                  </a:cubicBezTo>
                  <a:cubicBezTo>
                    <a:pt x="89" y="72"/>
                    <a:pt x="100" y="62"/>
                    <a:pt x="100" y="48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48"/>
                    <a:pt x="108" y="48"/>
                    <a:pt x="108" y="48"/>
                  </a:cubicBezTo>
                  <a:cubicBezTo>
                    <a:pt x="108" y="66"/>
                    <a:pt x="94" y="80"/>
                    <a:pt x="76" y="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52" name="Freeform 166"/>
            <p:cNvSpPr>
              <a:spLocks noEditPoints="1"/>
            </p:cNvSpPr>
            <p:nvPr/>
          </p:nvSpPr>
          <p:spPr bwMode="auto">
            <a:xfrm>
              <a:off x="4559301" y="3740151"/>
              <a:ext cx="93663" cy="107950"/>
            </a:xfrm>
            <a:custGeom>
              <a:avLst/>
              <a:gdLst>
                <a:gd name="T0" fmla="*/ 24 w 48"/>
                <a:gd name="T1" fmla="*/ 56 h 56"/>
                <a:gd name="T2" fmla="*/ 0 w 48"/>
                <a:gd name="T3" fmla="*/ 26 h 56"/>
                <a:gd name="T4" fmla="*/ 24 w 48"/>
                <a:gd name="T5" fmla="*/ 0 h 56"/>
                <a:gd name="T6" fmla="*/ 48 w 48"/>
                <a:gd name="T7" fmla="*/ 26 h 56"/>
                <a:gd name="T8" fmla="*/ 24 w 48"/>
                <a:gd name="T9" fmla="*/ 56 h 56"/>
                <a:gd name="T10" fmla="*/ 24 w 48"/>
                <a:gd name="T11" fmla="*/ 8 h 56"/>
                <a:gd name="T12" fmla="*/ 8 w 48"/>
                <a:gd name="T13" fmla="*/ 26 h 56"/>
                <a:gd name="T14" fmla="*/ 24 w 48"/>
                <a:gd name="T15" fmla="*/ 48 h 56"/>
                <a:gd name="T16" fmla="*/ 40 w 48"/>
                <a:gd name="T17" fmla="*/ 26 h 56"/>
                <a:gd name="T18" fmla="*/ 24 w 48"/>
                <a:gd name="T19" fmla="*/ 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56">
                  <a:moveTo>
                    <a:pt x="24" y="56"/>
                  </a:moveTo>
                  <a:cubicBezTo>
                    <a:pt x="10" y="56"/>
                    <a:pt x="0" y="44"/>
                    <a:pt x="0" y="26"/>
                  </a:cubicBezTo>
                  <a:cubicBezTo>
                    <a:pt x="0" y="14"/>
                    <a:pt x="3" y="0"/>
                    <a:pt x="24" y="0"/>
                  </a:cubicBezTo>
                  <a:cubicBezTo>
                    <a:pt x="45" y="0"/>
                    <a:pt x="48" y="14"/>
                    <a:pt x="48" y="26"/>
                  </a:cubicBezTo>
                  <a:cubicBezTo>
                    <a:pt x="48" y="44"/>
                    <a:pt x="38" y="56"/>
                    <a:pt x="24" y="56"/>
                  </a:cubicBezTo>
                  <a:close/>
                  <a:moveTo>
                    <a:pt x="24" y="8"/>
                  </a:moveTo>
                  <a:cubicBezTo>
                    <a:pt x="12" y="8"/>
                    <a:pt x="8" y="13"/>
                    <a:pt x="8" y="26"/>
                  </a:cubicBezTo>
                  <a:cubicBezTo>
                    <a:pt x="8" y="37"/>
                    <a:pt x="14" y="48"/>
                    <a:pt x="24" y="48"/>
                  </a:cubicBezTo>
                  <a:cubicBezTo>
                    <a:pt x="34" y="48"/>
                    <a:pt x="40" y="37"/>
                    <a:pt x="40" y="26"/>
                  </a:cubicBezTo>
                  <a:cubicBezTo>
                    <a:pt x="40" y="13"/>
                    <a:pt x="36" y="8"/>
                    <a:pt x="24" y="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53" name="Freeform 167"/>
            <p:cNvSpPr>
              <a:spLocks/>
            </p:cNvSpPr>
            <p:nvPr/>
          </p:nvSpPr>
          <p:spPr bwMode="auto">
            <a:xfrm>
              <a:off x="4521201" y="3827463"/>
              <a:ext cx="169863" cy="82550"/>
            </a:xfrm>
            <a:custGeom>
              <a:avLst/>
              <a:gdLst>
                <a:gd name="T0" fmla="*/ 76 w 88"/>
                <a:gd name="T1" fmla="*/ 43 h 43"/>
                <a:gd name="T2" fmla="*/ 12 w 88"/>
                <a:gd name="T3" fmla="*/ 43 h 43"/>
                <a:gd name="T4" fmla="*/ 0 w 88"/>
                <a:gd name="T5" fmla="*/ 27 h 43"/>
                <a:gd name="T6" fmla="*/ 0 w 88"/>
                <a:gd name="T7" fmla="*/ 17 h 43"/>
                <a:gd name="T8" fmla="*/ 30 w 88"/>
                <a:gd name="T9" fmla="*/ 0 h 43"/>
                <a:gd name="T10" fmla="*/ 34 w 88"/>
                <a:gd name="T11" fmla="*/ 7 h 43"/>
                <a:gd name="T12" fmla="*/ 8 w 88"/>
                <a:gd name="T13" fmla="*/ 22 h 43"/>
                <a:gd name="T14" fmla="*/ 8 w 88"/>
                <a:gd name="T15" fmla="*/ 27 h 43"/>
                <a:gd name="T16" fmla="*/ 12 w 88"/>
                <a:gd name="T17" fmla="*/ 35 h 43"/>
                <a:gd name="T18" fmla="*/ 76 w 88"/>
                <a:gd name="T19" fmla="*/ 35 h 43"/>
                <a:gd name="T20" fmla="*/ 80 w 88"/>
                <a:gd name="T21" fmla="*/ 27 h 43"/>
                <a:gd name="T22" fmla="*/ 80 w 88"/>
                <a:gd name="T23" fmla="*/ 22 h 43"/>
                <a:gd name="T24" fmla="*/ 54 w 88"/>
                <a:gd name="T25" fmla="*/ 7 h 43"/>
                <a:gd name="T26" fmla="*/ 58 w 88"/>
                <a:gd name="T27" fmla="*/ 0 h 43"/>
                <a:gd name="T28" fmla="*/ 88 w 88"/>
                <a:gd name="T29" fmla="*/ 17 h 43"/>
                <a:gd name="T30" fmla="*/ 88 w 88"/>
                <a:gd name="T31" fmla="*/ 27 h 43"/>
                <a:gd name="T32" fmla="*/ 76 w 88"/>
                <a:gd name="T3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" h="43">
                  <a:moveTo>
                    <a:pt x="76" y="43"/>
                  </a:moveTo>
                  <a:cubicBezTo>
                    <a:pt x="12" y="43"/>
                    <a:pt x="12" y="43"/>
                    <a:pt x="12" y="43"/>
                  </a:cubicBezTo>
                  <a:cubicBezTo>
                    <a:pt x="5" y="43"/>
                    <a:pt x="0" y="36"/>
                    <a:pt x="0" y="2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32"/>
                    <a:pt x="11" y="35"/>
                    <a:pt x="12" y="35"/>
                  </a:cubicBezTo>
                  <a:cubicBezTo>
                    <a:pt x="76" y="35"/>
                    <a:pt x="76" y="35"/>
                    <a:pt x="76" y="35"/>
                  </a:cubicBezTo>
                  <a:cubicBezTo>
                    <a:pt x="77" y="35"/>
                    <a:pt x="80" y="32"/>
                    <a:pt x="80" y="27"/>
                  </a:cubicBezTo>
                  <a:cubicBezTo>
                    <a:pt x="80" y="22"/>
                    <a:pt x="80" y="22"/>
                    <a:pt x="80" y="22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8" y="17"/>
                    <a:pt x="88" y="17"/>
                    <a:pt x="88" y="17"/>
                  </a:cubicBezTo>
                  <a:cubicBezTo>
                    <a:pt x="88" y="27"/>
                    <a:pt x="88" y="27"/>
                    <a:pt x="88" y="27"/>
                  </a:cubicBezTo>
                  <a:cubicBezTo>
                    <a:pt x="88" y="36"/>
                    <a:pt x="82" y="43"/>
                    <a:pt x="76" y="4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54" name="Freeform 168"/>
            <p:cNvSpPr>
              <a:spLocks noEditPoints="1"/>
            </p:cNvSpPr>
            <p:nvPr/>
          </p:nvSpPr>
          <p:spPr bwMode="auto">
            <a:xfrm>
              <a:off x="4395788" y="3910013"/>
              <a:ext cx="93663" cy="109538"/>
            </a:xfrm>
            <a:custGeom>
              <a:avLst/>
              <a:gdLst>
                <a:gd name="T0" fmla="*/ 24 w 48"/>
                <a:gd name="T1" fmla="*/ 56 h 56"/>
                <a:gd name="T2" fmla="*/ 0 w 48"/>
                <a:gd name="T3" fmla="*/ 26 h 56"/>
                <a:gd name="T4" fmla="*/ 24 w 48"/>
                <a:gd name="T5" fmla="*/ 0 h 56"/>
                <a:gd name="T6" fmla="*/ 48 w 48"/>
                <a:gd name="T7" fmla="*/ 26 h 56"/>
                <a:gd name="T8" fmla="*/ 24 w 48"/>
                <a:gd name="T9" fmla="*/ 56 h 56"/>
                <a:gd name="T10" fmla="*/ 24 w 48"/>
                <a:gd name="T11" fmla="*/ 8 h 56"/>
                <a:gd name="T12" fmla="*/ 8 w 48"/>
                <a:gd name="T13" fmla="*/ 26 h 56"/>
                <a:gd name="T14" fmla="*/ 24 w 48"/>
                <a:gd name="T15" fmla="*/ 48 h 56"/>
                <a:gd name="T16" fmla="*/ 40 w 48"/>
                <a:gd name="T17" fmla="*/ 26 h 56"/>
                <a:gd name="T18" fmla="*/ 24 w 48"/>
                <a:gd name="T19" fmla="*/ 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56">
                  <a:moveTo>
                    <a:pt x="24" y="56"/>
                  </a:moveTo>
                  <a:cubicBezTo>
                    <a:pt x="10" y="56"/>
                    <a:pt x="0" y="44"/>
                    <a:pt x="0" y="26"/>
                  </a:cubicBezTo>
                  <a:cubicBezTo>
                    <a:pt x="0" y="14"/>
                    <a:pt x="3" y="0"/>
                    <a:pt x="24" y="0"/>
                  </a:cubicBezTo>
                  <a:cubicBezTo>
                    <a:pt x="45" y="0"/>
                    <a:pt x="48" y="14"/>
                    <a:pt x="48" y="26"/>
                  </a:cubicBezTo>
                  <a:cubicBezTo>
                    <a:pt x="48" y="44"/>
                    <a:pt x="38" y="56"/>
                    <a:pt x="24" y="56"/>
                  </a:cubicBezTo>
                  <a:close/>
                  <a:moveTo>
                    <a:pt x="24" y="8"/>
                  </a:moveTo>
                  <a:cubicBezTo>
                    <a:pt x="12" y="8"/>
                    <a:pt x="8" y="13"/>
                    <a:pt x="8" y="26"/>
                  </a:cubicBezTo>
                  <a:cubicBezTo>
                    <a:pt x="8" y="37"/>
                    <a:pt x="14" y="48"/>
                    <a:pt x="24" y="48"/>
                  </a:cubicBezTo>
                  <a:cubicBezTo>
                    <a:pt x="34" y="48"/>
                    <a:pt x="40" y="37"/>
                    <a:pt x="40" y="26"/>
                  </a:cubicBezTo>
                  <a:cubicBezTo>
                    <a:pt x="40" y="13"/>
                    <a:pt x="36" y="8"/>
                    <a:pt x="24" y="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55" name="Freeform 169"/>
            <p:cNvSpPr>
              <a:spLocks/>
            </p:cNvSpPr>
            <p:nvPr/>
          </p:nvSpPr>
          <p:spPr bwMode="auto">
            <a:xfrm>
              <a:off x="4357688" y="3998913"/>
              <a:ext cx="169863" cy="82550"/>
            </a:xfrm>
            <a:custGeom>
              <a:avLst/>
              <a:gdLst>
                <a:gd name="T0" fmla="*/ 76 w 88"/>
                <a:gd name="T1" fmla="*/ 43 h 43"/>
                <a:gd name="T2" fmla="*/ 12 w 88"/>
                <a:gd name="T3" fmla="*/ 43 h 43"/>
                <a:gd name="T4" fmla="*/ 0 w 88"/>
                <a:gd name="T5" fmla="*/ 27 h 43"/>
                <a:gd name="T6" fmla="*/ 0 w 88"/>
                <a:gd name="T7" fmla="*/ 17 h 43"/>
                <a:gd name="T8" fmla="*/ 30 w 88"/>
                <a:gd name="T9" fmla="*/ 0 h 43"/>
                <a:gd name="T10" fmla="*/ 34 w 88"/>
                <a:gd name="T11" fmla="*/ 7 h 43"/>
                <a:gd name="T12" fmla="*/ 8 w 88"/>
                <a:gd name="T13" fmla="*/ 22 h 43"/>
                <a:gd name="T14" fmla="*/ 8 w 88"/>
                <a:gd name="T15" fmla="*/ 27 h 43"/>
                <a:gd name="T16" fmla="*/ 12 w 88"/>
                <a:gd name="T17" fmla="*/ 35 h 43"/>
                <a:gd name="T18" fmla="*/ 76 w 88"/>
                <a:gd name="T19" fmla="*/ 35 h 43"/>
                <a:gd name="T20" fmla="*/ 80 w 88"/>
                <a:gd name="T21" fmla="*/ 27 h 43"/>
                <a:gd name="T22" fmla="*/ 80 w 88"/>
                <a:gd name="T23" fmla="*/ 22 h 43"/>
                <a:gd name="T24" fmla="*/ 54 w 88"/>
                <a:gd name="T25" fmla="*/ 7 h 43"/>
                <a:gd name="T26" fmla="*/ 58 w 88"/>
                <a:gd name="T27" fmla="*/ 0 h 43"/>
                <a:gd name="T28" fmla="*/ 88 w 88"/>
                <a:gd name="T29" fmla="*/ 17 h 43"/>
                <a:gd name="T30" fmla="*/ 88 w 88"/>
                <a:gd name="T31" fmla="*/ 27 h 43"/>
                <a:gd name="T32" fmla="*/ 76 w 88"/>
                <a:gd name="T3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" h="43">
                  <a:moveTo>
                    <a:pt x="76" y="43"/>
                  </a:moveTo>
                  <a:cubicBezTo>
                    <a:pt x="12" y="43"/>
                    <a:pt x="12" y="43"/>
                    <a:pt x="12" y="43"/>
                  </a:cubicBezTo>
                  <a:cubicBezTo>
                    <a:pt x="5" y="43"/>
                    <a:pt x="0" y="36"/>
                    <a:pt x="0" y="2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32"/>
                    <a:pt x="11" y="35"/>
                    <a:pt x="12" y="35"/>
                  </a:cubicBezTo>
                  <a:cubicBezTo>
                    <a:pt x="76" y="35"/>
                    <a:pt x="76" y="35"/>
                    <a:pt x="76" y="35"/>
                  </a:cubicBezTo>
                  <a:cubicBezTo>
                    <a:pt x="77" y="35"/>
                    <a:pt x="80" y="32"/>
                    <a:pt x="80" y="27"/>
                  </a:cubicBezTo>
                  <a:cubicBezTo>
                    <a:pt x="80" y="22"/>
                    <a:pt x="80" y="22"/>
                    <a:pt x="80" y="22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8" y="17"/>
                    <a:pt x="88" y="17"/>
                    <a:pt x="88" y="17"/>
                  </a:cubicBezTo>
                  <a:cubicBezTo>
                    <a:pt x="88" y="27"/>
                    <a:pt x="88" y="27"/>
                    <a:pt x="88" y="27"/>
                  </a:cubicBezTo>
                  <a:cubicBezTo>
                    <a:pt x="88" y="36"/>
                    <a:pt x="82" y="43"/>
                    <a:pt x="76" y="4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56" name="Freeform 170"/>
            <p:cNvSpPr>
              <a:spLocks noEditPoints="1"/>
            </p:cNvSpPr>
            <p:nvPr/>
          </p:nvSpPr>
          <p:spPr bwMode="auto">
            <a:xfrm>
              <a:off x="4722813" y="3584576"/>
              <a:ext cx="92075" cy="107950"/>
            </a:xfrm>
            <a:custGeom>
              <a:avLst/>
              <a:gdLst>
                <a:gd name="T0" fmla="*/ 24 w 48"/>
                <a:gd name="T1" fmla="*/ 56 h 56"/>
                <a:gd name="T2" fmla="*/ 0 w 48"/>
                <a:gd name="T3" fmla="*/ 26 h 56"/>
                <a:gd name="T4" fmla="*/ 24 w 48"/>
                <a:gd name="T5" fmla="*/ 0 h 56"/>
                <a:gd name="T6" fmla="*/ 48 w 48"/>
                <a:gd name="T7" fmla="*/ 26 h 56"/>
                <a:gd name="T8" fmla="*/ 24 w 48"/>
                <a:gd name="T9" fmla="*/ 56 h 56"/>
                <a:gd name="T10" fmla="*/ 24 w 48"/>
                <a:gd name="T11" fmla="*/ 8 h 56"/>
                <a:gd name="T12" fmla="*/ 8 w 48"/>
                <a:gd name="T13" fmla="*/ 26 h 56"/>
                <a:gd name="T14" fmla="*/ 24 w 48"/>
                <a:gd name="T15" fmla="*/ 48 h 56"/>
                <a:gd name="T16" fmla="*/ 40 w 48"/>
                <a:gd name="T17" fmla="*/ 26 h 56"/>
                <a:gd name="T18" fmla="*/ 24 w 48"/>
                <a:gd name="T19" fmla="*/ 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56">
                  <a:moveTo>
                    <a:pt x="24" y="56"/>
                  </a:moveTo>
                  <a:cubicBezTo>
                    <a:pt x="10" y="56"/>
                    <a:pt x="0" y="44"/>
                    <a:pt x="0" y="26"/>
                  </a:cubicBezTo>
                  <a:cubicBezTo>
                    <a:pt x="0" y="14"/>
                    <a:pt x="3" y="0"/>
                    <a:pt x="24" y="0"/>
                  </a:cubicBezTo>
                  <a:cubicBezTo>
                    <a:pt x="45" y="0"/>
                    <a:pt x="48" y="14"/>
                    <a:pt x="48" y="26"/>
                  </a:cubicBezTo>
                  <a:cubicBezTo>
                    <a:pt x="48" y="44"/>
                    <a:pt x="38" y="56"/>
                    <a:pt x="24" y="56"/>
                  </a:cubicBezTo>
                  <a:close/>
                  <a:moveTo>
                    <a:pt x="24" y="8"/>
                  </a:moveTo>
                  <a:cubicBezTo>
                    <a:pt x="12" y="8"/>
                    <a:pt x="8" y="13"/>
                    <a:pt x="8" y="26"/>
                  </a:cubicBezTo>
                  <a:cubicBezTo>
                    <a:pt x="8" y="37"/>
                    <a:pt x="14" y="48"/>
                    <a:pt x="24" y="48"/>
                  </a:cubicBezTo>
                  <a:cubicBezTo>
                    <a:pt x="34" y="48"/>
                    <a:pt x="40" y="37"/>
                    <a:pt x="40" y="26"/>
                  </a:cubicBezTo>
                  <a:cubicBezTo>
                    <a:pt x="40" y="13"/>
                    <a:pt x="36" y="8"/>
                    <a:pt x="24" y="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57" name="Freeform 171"/>
            <p:cNvSpPr>
              <a:spLocks/>
            </p:cNvSpPr>
            <p:nvPr/>
          </p:nvSpPr>
          <p:spPr bwMode="auto">
            <a:xfrm>
              <a:off x="4683126" y="3671888"/>
              <a:ext cx="171450" cy="84138"/>
            </a:xfrm>
            <a:custGeom>
              <a:avLst/>
              <a:gdLst>
                <a:gd name="T0" fmla="*/ 76 w 88"/>
                <a:gd name="T1" fmla="*/ 43 h 43"/>
                <a:gd name="T2" fmla="*/ 12 w 88"/>
                <a:gd name="T3" fmla="*/ 43 h 43"/>
                <a:gd name="T4" fmla="*/ 0 w 88"/>
                <a:gd name="T5" fmla="*/ 27 h 43"/>
                <a:gd name="T6" fmla="*/ 0 w 88"/>
                <a:gd name="T7" fmla="*/ 17 h 43"/>
                <a:gd name="T8" fmla="*/ 30 w 88"/>
                <a:gd name="T9" fmla="*/ 0 h 43"/>
                <a:gd name="T10" fmla="*/ 34 w 88"/>
                <a:gd name="T11" fmla="*/ 7 h 43"/>
                <a:gd name="T12" fmla="*/ 8 w 88"/>
                <a:gd name="T13" fmla="*/ 22 h 43"/>
                <a:gd name="T14" fmla="*/ 8 w 88"/>
                <a:gd name="T15" fmla="*/ 27 h 43"/>
                <a:gd name="T16" fmla="*/ 12 w 88"/>
                <a:gd name="T17" fmla="*/ 35 h 43"/>
                <a:gd name="T18" fmla="*/ 76 w 88"/>
                <a:gd name="T19" fmla="*/ 35 h 43"/>
                <a:gd name="T20" fmla="*/ 80 w 88"/>
                <a:gd name="T21" fmla="*/ 27 h 43"/>
                <a:gd name="T22" fmla="*/ 80 w 88"/>
                <a:gd name="T23" fmla="*/ 22 h 43"/>
                <a:gd name="T24" fmla="*/ 54 w 88"/>
                <a:gd name="T25" fmla="*/ 7 h 43"/>
                <a:gd name="T26" fmla="*/ 58 w 88"/>
                <a:gd name="T27" fmla="*/ 0 h 43"/>
                <a:gd name="T28" fmla="*/ 88 w 88"/>
                <a:gd name="T29" fmla="*/ 17 h 43"/>
                <a:gd name="T30" fmla="*/ 88 w 88"/>
                <a:gd name="T31" fmla="*/ 27 h 43"/>
                <a:gd name="T32" fmla="*/ 76 w 88"/>
                <a:gd name="T3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" h="43">
                  <a:moveTo>
                    <a:pt x="76" y="43"/>
                  </a:moveTo>
                  <a:cubicBezTo>
                    <a:pt x="12" y="43"/>
                    <a:pt x="12" y="43"/>
                    <a:pt x="12" y="43"/>
                  </a:cubicBezTo>
                  <a:cubicBezTo>
                    <a:pt x="5" y="43"/>
                    <a:pt x="0" y="36"/>
                    <a:pt x="0" y="2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32"/>
                    <a:pt x="11" y="35"/>
                    <a:pt x="12" y="35"/>
                  </a:cubicBezTo>
                  <a:cubicBezTo>
                    <a:pt x="76" y="35"/>
                    <a:pt x="76" y="35"/>
                    <a:pt x="76" y="35"/>
                  </a:cubicBezTo>
                  <a:cubicBezTo>
                    <a:pt x="77" y="35"/>
                    <a:pt x="80" y="32"/>
                    <a:pt x="80" y="27"/>
                  </a:cubicBezTo>
                  <a:cubicBezTo>
                    <a:pt x="80" y="22"/>
                    <a:pt x="80" y="22"/>
                    <a:pt x="80" y="22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8" y="17"/>
                    <a:pt x="88" y="17"/>
                    <a:pt x="88" y="17"/>
                  </a:cubicBezTo>
                  <a:cubicBezTo>
                    <a:pt x="88" y="27"/>
                    <a:pt x="88" y="27"/>
                    <a:pt x="88" y="27"/>
                  </a:cubicBezTo>
                  <a:cubicBezTo>
                    <a:pt x="88" y="36"/>
                    <a:pt x="82" y="43"/>
                    <a:pt x="76" y="4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</p:grpSp>
      <p:grpSp>
        <p:nvGrpSpPr>
          <p:cNvPr id="59" name="Группа 58"/>
          <p:cNvGrpSpPr/>
          <p:nvPr/>
        </p:nvGrpSpPr>
        <p:grpSpPr>
          <a:xfrm>
            <a:off x="5695885" y="3152088"/>
            <a:ext cx="409339" cy="339148"/>
            <a:chOff x="1879601" y="2894013"/>
            <a:chExt cx="495300" cy="373063"/>
          </a:xfrm>
          <a:solidFill>
            <a:srgbClr val="1BCCB3"/>
          </a:solidFill>
        </p:grpSpPr>
        <p:sp>
          <p:nvSpPr>
            <p:cNvPr id="60" name="Freeform 30"/>
            <p:cNvSpPr>
              <a:spLocks/>
            </p:cNvSpPr>
            <p:nvPr/>
          </p:nvSpPr>
          <p:spPr bwMode="auto">
            <a:xfrm>
              <a:off x="2281238" y="2894013"/>
              <a:ext cx="63500" cy="61913"/>
            </a:xfrm>
            <a:custGeom>
              <a:avLst/>
              <a:gdLst>
                <a:gd name="T0" fmla="*/ 40 w 40"/>
                <a:gd name="T1" fmla="*/ 39 h 39"/>
                <a:gd name="T2" fmla="*/ 30 w 40"/>
                <a:gd name="T3" fmla="*/ 39 h 39"/>
                <a:gd name="T4" fmla="*/ 30 w 40"/>
                <a:gd name="T5" fmla="*/ 10 h 39"/>
                <a:gd name="T6" fmla="*/ 0 w 40"/>
                <a:gd name="T7" fmla="*/ 10 h 39"/>
                <a:gd name="T8" fmla="*/ 0 w 40"/>
                <a:gd name="T9" fmla="*/ 0 h 39"/>
                <a:gd name="T10" fmla="*/ 40 w 40"/>
                <a:gd name="T11" fmla="*/ 0 h 39"/>
                <a:gd name="T12" fmla="*/ 40 w 40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39">
                  <a:moveTo>
                    <a:pt x="40" y="39"/>
                  </a:moveTo>
                  <a:lnTo>
                    <a:pt x="30" y="39"/>
                  </a:lnTo>
                  <a:lnTo>
                    <a:pt x="30" y="10"/>
                  </a:lnTo>
                  <a:lnTo>
                    <a:pt x="0" y="10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61" name="Freeform 31"/>
            <p:cNvSpPr>
              <a:spLocks/>
            </p:cNvSpPr>
            <p:nvPr/>
          </p:nvSpPr>
          <p:spPr bwMode="auto">
            <a:xfrm>
              <a:off x="1973263" y="2898776"/>
              <a:ext cx="368300" cy="242888"/>
            </a:xfrm>
            <a:custGeom>
              <a:avLst/>
              <a:gdLst>
                <a:gd name="T0" fmla="*/ 8 w 232"/>
                <a:gd name="T1" fmla="*/ 153 h 153"/>
                <a:gd name="T2" fmla="*/ 0 w 232"/>
                <a:gd name="T3" fmla="*/ 146 h 153"/>
                <a:gd name="T4" fmla="*/ 87 w 232"/>
                <a:gd name="T5" fmla="*/ 60 h 153"/>
                <a:gd name="T6" fmla="*/ 126 w 232"/>
                <a:gd name="T7" fmla="*/ 99 h 153"/>
                <a:gd name="T8" fmla="*/ 225 w 232"/>
                <a:gd name="T9" fmla="*/ 0 h 153"/>
                <a:gd name="T10" fmla="*/ 232 w 232"/>
                <a:gd name="T11" fmla="*/ 6 h 153"/>
                <a:gd name="T12" fmla="*/ 126 w 232"/>
                <a:gd name="T13" fmla="*/ 112 h 153"/>
                <a:gd name="T14" fmla="*/ 87 w 232"/>
                <a:gd name="T15" fmla="*/ 73 h 153"/>
                <a:gd name="T16" fmla="*/ 8 w 232"/>
                <a:gd name="T17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2" h="153">
                  <a:moveTo>
                    <a:pt x="8" y="153"/>
                  </a:moveTo>
                  <a:lnTo>
                    <a:pt x="0" y="146"/>
                  </a:lnTo>
                  <a:lnTo>
                    <a:pt x="87" y="60"/>
                  </a:lnTo>
                  <a:lnTo>
                    <a:pt x="126" y="99"/>
                  </a:lnTo>
                  <a:lnTo>
                    <a:pt x="225" y="0"/>
                  </a:lnTo>
                  <a:lnTo>
                    <a:pt x="232" y="6"/>
                  </a:lnTo>
                  <a:lnTo>
                    <a:pt x="126" y="112"/>
                  </a:lnTo>
                  <a:lnTo>
                    <a:pt x="87" y="73"/>
                  </a:lnTo>
                  <a:lnTo>
                    <a:pt x="8" y="1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62" name="Freeform 32"/>
            <p:cNvSpPr>
              <a:spLocks noEditPoints="1"/>
            </p:cNvSpPr>
            <p:nvPr/>
          </p:nvSpPr>
          <p:spPr bwMode="auto">
            <a:xfrm>
              <a:off x="1879601" y="3205163"/>
              <a:ext cx="495300" cy="61913"/>
            </a:xfrm>
            <a:custGeom>
              <a:avLst/>
              <a:gdLst>
                <a:gd name="T0" fmla="*/ 290 w 312"/>
                <a:gd name="T1" fmla="*/ 39 h 39"/>
                <a:gd name="T2" fmla="*/ 23 w 312"/>
                <a:gd name="T3" fmla="*/ 39 h 39"/>
                <a:gd name="T4" fmla="*/ 0 w 312"/>
                <a:gd name="T5" fmla="*/ 17 h 39"/>
                <a:gd name="T6" fmla="*/ 0 w 312"/>
                <a:gd name="T7" fmla="*/ 0 h 39"/>
                <a:gd name="T8" fmla="*/ 124 w 312"/>
                <a:gd name="T9" fmla="*/ 0 h 39"/>
                <a:gd name="T10" fmla="*/ 134 w 312"/>
                <a:gd name="T11" fmla="*/ 10 h 39"/>
                <a:gd name="T12" fmla="*/ 179 w 312"/>
                <a:gd name="T13" fmla="*/ 10 h 39"/>
                <a:gd name="T14" fmla="*/ 189 w 312"/>
                <a:gd name="T15" fmla="*/ 0 h 39"/>
                <a:gd name="T16" fmla="*/ 312 w 312"/>
                <a:gd name="T17" fmla="*/ 0 h 39"/>
                <a:gd name="T18" fmla="*/ 312 w 312"/>
                <a:gd name="T19" fmla="*/ 17 h 39"/>
                <a:gd name="T20" fmla="*/ 290 w 312"/>
                <a:gd name="T21" fmla="*/ 39 h 39"/>
                <a:gd name="T22" fmla="*/ 26 w 312"/>
                <a:gd name="T23" fmla="*/ 29 h 39"/>
                <a:gd name="T24" fmla="*/ 286 w 312"/>
                <a:gd name="T25" fmla="*/ 29 h 39"/>
                <a:gd name="T26" fmla="*/ 302 w 312"/>
                <a:gd name="T27" fmla="*/ 13 h 39"/>
                <a:gd name="T28" fmla="*/ 302 w 312"/>
                <a:gd name="T29" fmla="*/ 10 h 39"/>
                <a:gd name="T30" fmla="*/ 192 w 312"/>
                <a:gd name="T31" fmla="*/ 10 h 39"/>
                <a:gd name="T32" fmla="*/ 183 w 312"/>
                <a:gd name="T33" fmla="*/ 19 h 39"/>
                <a:gd name="T34" fmla="*/ 130 w 312"/>
                <a:gd name="T35" fmla="*/ 19 h 39"/>
                <a:gd name="T36" fmla="*/ 120 w 312"/>
                <a:gd name="T37" fmla="*/ 10 h 39"/>
                <a:gd name="T38" fmla="*/ 9 w 312"/>
                <a:gd name="T39" fmla="*/ 10 h 39"/>
                <a:gd name="T40" fmla="*/ 9 w 312"/>
                <a:gd name="T41" fmla="*/ 13 h 39"/>
                <a:gd name="T42" fmla="*/ 26 w 312"/>
                <a:gd name="T43" fmla="*/ 2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12" h="39">
                  <a:moveTo>
                    <a:pt x="290" y="39"/>
                  </a:moveTo>
                  <a:lnTo>
                    <a:pt x="23" y="39"/>
                  </a:lnTo>
                  <a:lnTo>
                    <a:pt x="0" y="17"/>
                  </a:lnTo>
                  <a:lnTo>
                    <a:pt x="0" y="0"/>
                  </a:lnTo>
                  <a:lnTo>
                    <a:pt x="124" y="0"/>
                  </a:lnTo>
                  <a:lnTo>
                    <a:pt x="134" y="10"/>
                  </a:lnTo>
                  <a:lnTo>
                    <a:pt x="179" y="10"/>
                  </a:lnTo>
                  <a:lnTo>
                    <a:pt x="189" y="0"/>
                  </a:lnTo>
                  <a:lnTo>
                    <a:pt x="312" y="0"/>
                  </a:lnTo>
                  <a:lnTo>
                    <a:pt x="312" y="17"/>
                  </a:lnTo>
                  <a:lnTo>
                    <a:pt x="290" y="39"/>
                  </a:lnTo>
                  <a:close/>
                  <a:moveTo>
                    <a:pt x="26" y="29"/>
                  </a:moveTo>
                  <a:lnTo>
                    <a:pt x="286" y="29"/>
                  </a:lnTo>
                  <a:lnTo>
                    <a:pt x="302" y="13"/>
                  </a:lnTo>
                  <a:lnTo>
                    <a:pt x="302" y="10"/>
                  </a:lnTo>
                  <a:lnTo>
                    <a:pt x="192" y="10"/>
                  </a:lnTo>
                  <a:lnTo>
                    <a:pt x="183" y="19"/>
                  </a:lnTo>
                  <a:lnTo>
                    <a:pt x="130" y="19"/>
                  </a:lnTo>
                  <a:lnTo>
                    <a:pt x="120" y="10"/>
                  </a:lnTo>
                  <a:lnTo>
                    <a:pt x="9" y="10"/>
                  </a:lnTo>
                  <a:lnTo>
                    <a:pt x="9" y="13"/>
                  </a:lnTo>
                  <a:lnTo>
                    <a:pt x="26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63" name="Freeform 33"/>
            <p:cNvSpPr>
              <a:spLocks/>
            </p:cNvSpPr>
            <p:nvPr/>
          </p:nvSpPr>
          <p:spPr bwMode="auto">
            <a:xfrm>
              <a:off x="1909763" y="2894013"/>
              <a:ext cx="341313" cy="295275"/>
            </a:xfrm>
            <a:custGeom>
              <a:avLst/>
              <a:gdLst>
                <a:gd name="T0" fmla="*/ 8 w 176"/>
                <a:gd name="T1" fmla="*/ 152 h 152"/>
                <a:gd name="T2" fmla="*/ 0 w 176"/>
                <a:gd name="T3" fmla="*/ 152 h 152"/>
                <a:gd name="T4" fmla="*/ 0 w 176"/>
                <a:gd name="T5" fmla="*/ 16 h 152"/>
                <a:gd name="T6" fmla="*/ 16 w 176"/>
                <a:gd name="T7" fmla="*/ 0 h 152"/>
                <a:gd name="T8" fmla="*/ 176 w 176"/>
                <a:gd name="T9" fmla="*/ 0 h 152"/>
                <a:gd name="T10" fmla="*/ 176 w 176"/>
                <a:gd name="T11" fmla="*/ 8 h 152"/>
                <a:gd name="T12" fmla="*/ 16 w 176"/>
                <a:gd name="T13" fmla="*/ 8 h 152"/>
                <a:gd name="T14" fmla="*/ 8 w 176"/>
                <a:gd name="T15" fmla="*/ 16 h 152"/>
                <a:gd name="T16" fmla="*/ 8 w 176"/>
                <a:gd name="T17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52">
                  <a:moveTo>
                    <a:pt x="8" y="152"/>
                  </a:moveTo>
                  <a:cubicBezTo>
                    <a:pt x="0" y="152"/>
                    <a:pt x="0" y="152"/>
                    <a:pt x="0" y="15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76" y="8"/>
                    <a:pt x="176" y="8"/>
                    <a:pt x="17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2" y="8"/>
                    <a:pt x="8" y="12"/>
                    <a:pt x="8" y="16"/>
                  </a:cubicBezTo>
                  <a:lnTo>
                    <a:pt x="8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64" name="Rectangle 34"/>
            <p:cNvSpPr>
              <a:spLocks noChangeArrowheads="1"/>
            </p:cNvSpPr>
            <p:nvPr/>
          </p:nvSpPr>
          <p:spPr bwMode="auto">
            <a:xfrm>
              <a:off x="2328863" y="2987676"/>
              <a:ext cx="15875" cy="201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65" name="Freeform 35"/>
            <p:cNvSpPr>
              <a:spLocks/>
            </p:cNvSpPr>
            <p:nvPr/>
          </p:nvSpPr>
          <p:spPr bwMode="auto">
            <a:xfrm>
              <a:off x="1941513" y="2925763"/>
              <a:ext cx="371475" cy="247650"/>
            </a:xfrm>
            <a:custGeom>
              <a:avLst/>
              <a:gdLst>
                <a:gd name="T0" fmla="*/ 234 w 234"/>
                <a:gd name="T1" fmla="*/ 156 h 156"/>
                <a:gd name="T2" fmla="*/ 0 w 234"/>
                <a:gd name="T3" fmla="*/ 156 h 156"/>
                <a:gd name="T4" fmla="*/ 0 w 234"/>
                <a:gd name="T5" fmla="*/ 0 h 156"/>
                <a:gd name="T6" fmla="*/ 195 w 234"/>
                <a:gd name="T7" fmla="*/ 0 h 156"/>
                <a:gd name="T8" fmla="*/ 195 w 234"/>
                <a:gd name="T9" fmla="*/ 10 h 156"/>
                <a:gd name="T10" fmla="*/ 9 w 234"/>
                <a:gd name="T11" fmla="*/ 10 h 156"/>
                <a:gd name="T12" fmla="*/ 9 w 234"/>
                <a:gd name="T13" fmla="*/ 147 h 156"/>
                <a:gd name="T14" fmla="*/ 224 w 234"/>
                <a:gd name="T15" fmla="*/ 147 h 156"/>
                <a:gd name="T16" fmla="*/ 224 w 234"/>
                <a:gd name="T17" fmla="*/ 39 h 156"/>
                <a:gd name="T18" fmla="*/ 234 w 234"/>
                <a:gd name="T19" fmla="*/ 39 h 156"/>
                <a:gd name="T20" fmla="*/ 234 w 234"/>
                <a:gd name="T21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4" h="156">
                  <a:moveTo>
                    <a:pt x="234" y="156"/>
                  </a:moveTo>
                  <a:lnTo>
                    <a:pt x="0" y="156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10"/>
                  </a:lnTo>
                  <a:lnTo>
                    <a:pt x="9" y="10"/>
                  </a:lnTo>
                  <a:lnTo>
                    <a:pt x="9" y="147"/>
                  </a:lnTo>
                  <a:lnTo>
                    <a:pt x="224" y="147"/>
                  </a:lnTo>
                  <a:lnTo>
                    <a:pt x="224" y="39"/>
                  </a:lnTo>
                  <a:lnTo>
                    <a:pt x="234" y="39"/>
                  </a:lnTo>
                  <a:lnTo>
                    <a:pt x="234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66" name="Rectangle 36"/>
            <p:cNvSpPr>
              <a:spLocks noChangeArrowheads="1"/>
            </p:cNvSpPr>
            <p:nvPr/>
          </p:nvSpPr>
          <p:spPr bwMode="auto">
            <a:xfrm>
              <a:off x="2057401" y="3095626"/>
              <a:ext cx="158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67" name="Rectangle 37"/>
            <p:cNvSpPr>
              <a:spLocks noChangeArrowheads="1"/>
            </p:cNvSpPr>
            <p:nvPr/>
          </p:nvSpPr>
          <p:spPr bwMode="auto">
            <a:xfrm>
              <a:off x="2025651" y="3127376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68" name="Rectangle 38"/>
            <p:cNvSpPr>
              <a:spLocks noChangeArrowheads="1"/>
            </p:cNvSpPr>
            <p:nvPr/>
          </p:nvSpPr>
          <p:spPr bwMode="auto">
            <a:xfrm>
              <a:off x="2087563" y="3065463"/>
              <a:ext cx="15875" cy="777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69" name="Rectangle 39"/>
            <p:cNvSpPr>
              <a:spLocks noChangeArrowheads="1"/>
            </p:cNvSpPr>
            <p:nvPr/>
          </p:nvSpPr>
          <p:spPr bwMode="auto">
            <a:xfrm>
              <a:off x="2119313" y="3065463"/>
              <a:ext cx="15875" cy="777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70" name="Rectangle 40"/>
            <p:cNvSpPr>
              <a:spLocks noChangeArrowheads="1"/>
            </p:cNvSpPr>
            <p:nvPr/>
          </p:nvSpPr>
          <p:spPr bwMode="auto">
            <a:xfrm>
              <a:off x="2149476" y="3095626"/>
              <a:ext cx="158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71" name="Rectangle 41"/>
            <p:cNvSpPr>
              <a:spLocks noChangeArrowheads="1"/>
            </p:cNvSpPr>
            <p:nvPr/>
          </p:nvSpPr>
          <p:spPr bwMode="auto">
            <a:xfrm>
              <a:off x="2181226" y="3095626"/>
              <a:ext cx="158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72" name="Rectangle 42"/>
            <p:cNvSpPr>
              <a:spLocks noChangeArrowheads="1"/>
            </p:cNvSpPr>
            <p:nvPr/>
          </p:nvSpPr>
          <p:spPr bwMode="auto">
            <a:xfrm>
              <a:off x="2212976" y="3065463"/>
              <a:ext cx="14288" cy="777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73" name="Rectangle 43"/>
            <p:cNvSpPr>
              <a:spLocks noChangeArrowheads="1"/>
            </p:cNvSpPr>
            <p:nvPr/>
          </p:nvSpPr>
          <p:spPr bwMode="auto">
            <a:xfrm>
              <a:off x="2243138" y="3033713"/>
              <a:ext cx="15875" cy="109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</p:grpSp>
      <p:pic>
        <p:nvPicPr>
          <p:cNvPr id="74" name="Рисунок 73"/>
          <p:cNvPicPr>
            <a:picLocks noChangeAspect="1"/>
          </p:cNvPicPr>
          <p:nvPr/>
        </p:nvPicPr>
        <p:blipFill rotWithShape="1">
          <a:blip r:embed="rId8"/>
          <a:srcRect l="12631" t="19941" r="10614" b="12846"/>
          <a:stretch/>
        </p:blipFill>
        <p:spPr>
          <a:xfrm>
            <a:off x="272254" y="1473807"/>
            <a:ext cx="4919828" cy="2423367"/>
          </a:xfrm>
          <a:prstGeom prst="rect">
            <a:avLst/>
          </a:prstGeom>
        </p:spPr>
      </p:pic>
      <p:pic>
        <p:nvPicPr>
          <p:cNvPr id="75" name="Рисунок 74"/>
          <p:cNvPicPr>
            <a:picLocks noChangeAspect="1"/>
          </p:cNvPicPr>
          <p:nvPr/>
        </p:nvPicPr>
        <p:blipFill rotWithShape="1">
          <a:blip r:embed="rId9"/>
          <a:srcRect l="6396" t="14565" r="7752" b="39302"/>
          <a:stretch/>
        </p:blipFill>
        <p:spPr>
          <a:xfrm>
            <a:off x="229250" y="4251758"/>
            <a:ext cx="5002741" cy="1512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99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992FC779-CBCA-1C4F-ABBF-572EB2195FA8}"/>
              </a:ext>
            </a:extLst>
          </p:cNvPr>
          <p:cNvSpPr/>
          <p:nvPr/>
        </p:nvSpPr>
        <p:spPr>
          <a:xfrm>
            <a:off x="772227" y="148070"/>
            <a:ext cx="11284816" cy="1046036"/>
          </a:xfrm>
          <a:prstGeom prst="rect">
            <a:avLst/>
          </a:prstGeom>
        </p:spPr>
        <p:txBody>
          <a:bodyPr wrap="square" lIns="121485" tIns="60760" rIns="121485" bIns="60760">
            <a:spAutoFit/>
          </a:bodyPr>
          <a:lstStyle/>
          <a:p>
            <a:r>
              <a:rPr lang="ru-RU" sz="3000" b="1" dirty="0">
                <a:solidFill>
                  <a:srgbClr val="1BCCB3"/>
                </a:solidFill>
              </a:rPr>
              <a:t>Создание </a:t>
            </a:r>
            <a:r>
              <a:rPr lang="ru-RU" sz="3000" b="1" dirty="0" smtClean="0">
                <a:solidFill>
                  <a:srgbClr val="1BCCB3"/>
                </a:solidFill>
              </a:rPr>
              <a:t>механизмов </a:t>
            </a:r>
            <a:r>
              <a:rPr lang="ru-RU" sz="3000" b="1" dirty="0">
                <a:solidFill>
                  <a:srgbClr val="1BCCB3"/>
                </a:solidFill>
              </a:rPr>
              <a:t>участия населения в поддержке отдельных объектов культуры </a:t>
            </a:r>
          </a:p>
        </p:txBody>
      </p:sp>
      <p:sp>
        <p:nvSpPr>
          <p:cNvPr id="3" name="Овал 2"/>
          <p:cNvSpPr/>
          <p:nvPr/>
        </p:nvSpPr>
        <p:spPr>
          <a:xfrm>
            <a:off x="122989" y="288386"/>
            <a:ext cx="573986" cy="573986"/>
          </a:xfrm>
          <a:prstGeom prst="ellipse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3</a:t>
            </a: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191382" y="1613388"/>
            <a:ext cx="5613623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E644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Проблема:</a:t>
            </a:r>
          </a:p>
          <a:p>
            <a:pPr lvl="0">
              <a:spcAft>
                <a:spcPts val="600"/>
              </a:spcAft>
              <a:defRPr/>
            </a:pPr>
            <a:r>
              <a:rPr lang="ru-RU" sz="1400" dirty="0">
                <a:solidFill>
                  <a:prstClr val="white"/>
                </a:solidFill>
              </a:rPr>
              <a:t>Нет рабочего механизма участия населения (частных пожертвований) на развитие объектов культуры 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6191382" y="3103192"/>
            <a:ext cx="5428689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Результат: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white"/>
                </a:solidFill>
              </a:rPr>
              <a:t>Утвержден </a:t>
            </a:r>
            <a:r>
              <a:rPr lang="ru-RU" sz="1400" dirty="0">
                <a:solidFill>
                  <a:prstClr val="white"/>
                </a:solidFill>
              </a:rPr>
              <a:t>механизм частных инвестиций</a:t>
            </a:r>
            <a:r>
              <a:rPr lang="ru-RU" sz="1400" dirty="0" smtClean="0">
                <a:solidFill>
                  <a:prstClr val="white"/>
                </a:solidFill>
              </a:rPr>
              <a:t>/ пожертвований </a:t>
            </a:r>
            <a:r>
              <a:rPr lang="ru-RU" sz="1400" dirty="0">
                <a:solidFill>
                  <a:prstClr val="white"/>
                </a:solidFill>
              </a:rPr>
              <a:t>физических лиц в объекты культуры;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white"/>
                </a:solidFill>
              </a:rPr>
              <a:t>Реализован </a:t>
            </a:r>
            <a:r>
              <a:rPr lang="ru-RU" sz="1400" dirty="0">
                <a:solidFill>
                  <a:prstClr val="white"/>
                </a:solidFill>
              </a:rPr>
              <a:t>пилотный проект. Принято решение о </a:t>
            </a:r>
            <a:r>
              <a:rPr lang="ru-RU" sz="1400" dirty="0" smtClean="0">
                <a:solidFill>
                  <a:prstClr val="white"/>
                </a:solidFill>
              </a:rPr>
              <a:t>тираже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231431" y="5155734"/>
            <a:ext cx="5799607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4AAC1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Ресурсы и финансирование:</a:t>
            </a:r>
          </a:p>
          <a:p>
            <a:pPr lvl="0">
              <a:spcAft>
                <a:spcPts val="600"/>
              </a:spcAft>
              <a:defRPr/>
            </a:pPr>
            <a:r>
              <a:rPr lang="ru-RU" sz="1400" dirty="0" smtClean="0">
                <a:solidFill>
                  <a:prstClr val="white"/>
                </a:solidFill>
              </a:rPr>
              <a:t>нет</a:t>
            </a:r>
            <a:endParaRPr lang="ru-RU" sz="1400" dirty="0">
              <a:solidFill>
                <a:prstClr val="white"/>
              </a:solidFill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6305187" y="3016994"/>
            <a:ext cx="5499377" cy="0"/>
          </a:xfrm>
          <a:prstGeom prst="line">
            <a:avLst/>
          </a:prstGeom>
          <a:noFill/>
          <a:ln w="9525" cap="flat" cmpd="sng">
            <a:solidFill>
              <a:schemeClr val="bg1">
                <a:lumMod val="50000"/>
              </a:schemeClr>
            </a:solidFill>
            <a:prstDash val="sysDash"/>
            <a:round/>
            <a:headEnd type="none" w="sm" len="sm"/>
            <a:tailEnd type="none" w="sm" len="sm"/>
          </a:ln>
        </p:spPr>
      </p:cxnSp>
      <p:cxnSp>
        <p:nvCxnSpPr>
          <p:cNvPr id="8" name="Прямая соединительная линия 7"/>
          <p:cNvCxnSpPr/>
          <p:nvPr/>
        </p:nvCxnSpPr>
        <p:spPr>
          <a:xfrm>
            <a:off x="6305187" y="4957094"/>
            <a:ext cx="5499377" cy="0"/>
          </a:xfrm>
          <a:prstGeom prst="line">
            <a:avLst/>
          </a:prstGeom>
          <a:noFill/>
          <a:ln w="9525" cap="flat" cmpd="sng">
            <a:solidFill>
              <a:schemeClr val="bg1">
                <a:lumMod val="50000"/>
              </a:schemeClr>
            </a:solidFill>
            <a:prstDash val="sysDash"/>
            <a:round/>
            <a:headEnd type="none" w="sm" len="sm"/>
            <a:tailEnd type="none" w="sm" len="sm"/>
          </a:ln>
        </p:spPr>
      </p:cxnSp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5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9565" y="1592840"/>
            <a:ext cx="359625" cy="351552"/>
          </a:xfrm>
          <a:prstGeom prst="rect">
            <a:avLst/>
          </a:prstGeom>
        </p:spPr>
      </p:pic>
      <p:grpSp>
        <p:nvGrpSpPr>
          <p:cNvPr id="10" name="Группа 9"/>
          <p:cNvGrpSpPr/>
          <p:nvPr/>
        </p:nvGrpSpPr>
        <p:grpSpPr>
          <a:xfrm>
            <a:off x="5747052" y="5127212"/>
            <a:ext cx="451716" cy="451715"/>
            <a:chOff x="4357688" y="3584576"/>
            <a:chExt cx="496888" cy="496887"/>
          </a:xfrm>
          <a:solidFill>
            <a:srgbClr val="04AAC1"/>
          </a:solidFill>
        </p:grpSpPr>
        <p:sp>
          <p:nvSpPr>
            <p:cNvPr id="11" name="Freeform 162"/>
            <p:cNvSpPr>
              <a:spLocks/>
            </p:cNvSpPr>
            <p:nvPr/>
          </p:nvSpPr>
          <p:spPr bwMode="auto">
            <a:xfrm>
              <a:off x="4413251" y="3783013"/>
              <a:ext cx="74613" cy="42863"/>
            </a:xfrm>
            <a:custGeom>
              <a:avLst/>
              <a:gdLst>
                <a:gd name="T0" fmla="*/ 19 w 38"/>
                <a:gd name="T1" fmla="*/ 22 h 22"/>
                <a:gd name="T2" fmla="*/ 16 w 38"/>
                <a:gd name="T3" fmla="*/ 21 h 22"/>
                <a:gd name="T4" fmla="*/ 0 w 38"/>
                <a:gd name="T5" fmla="*/ 5 h 22"/>
                <a:gd name="T6" fmla="*/ 6 w 38"/>
                <a:gd name="T7" fmla="*/ 0 h 22"/>
                <a:gd name="T8" fmla="*/ 19 w 38"/>
                <a:gd name="T9" fmla="*/ 13 h 22"/>
                <a:gd name="T10" fmla="*/ 32 w 38"/>
                <a:gd name="T11" fmla="*/ 0 h 22"/>
                <a:gd name="T12" fmla="*/ 38 w 38"/>
                <a:gd name="T13" fmla="*/ 5 h 22"/>
                <a:gd name="T14" fmla="*/ 22 w 38"/>
                <a:gd name="T15" fmla="*/ 21 h 22"/>
                <a:gd name="T16" fmla="*/ 19 w 38"/>
                <a:gd name="T1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22">
                  <a:moveTo>
                    <a:pt x="19" y="22"/>
                  </a:moveTo>
                  <a:cubicBezTo>
                    <a:pt x="18" y="22"/>
                    <a:pt x="17" y="22"/>
                    <a:pt x="16" y="2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1" y="22"/>
                    <a:pt x="20" y="22"/>
                    <a:pt x="19" y="2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12" name="Freeform 163"/>
            <p:cNvSpPr>
              <a:spLocks/>
            </p:cNvSpPr>
            <p:nvPr/>
          </p:nvSpPr>
          <p:spPr bwMode="auto">
            <a:xfrm>
              <a:off x="4443413" y="3662363"/>
              <a:ext cx="209550" cy="155575"/>
            </a:xfrm>
            <a:custGeom>
              <a:avLst/>
              <a:gdLst>
                <a:gd name="T0" fmla="*/ 8 w 108"/>
                <a:gd name="T1" fmla="*/ 80 h 80"/>
                <a:gd name="T2" fmla="*/ 0 w 108"/>
                <a:gd name="T3" fmla="*/ 80 h 80"/>
                <a:gd name="T4" fmla="*/ 0 w 108"/>
                <a:gd name="T5" fmla="*/ 32 h 80"/>
                <a:gd name="T6" fmla="*/ 32 w 108"/>
                <a:gd name="T7" fmla="*/ 0 h 80"/>
                <a:gd name="T8" fmla="*/ 108 w 108"/>
                <a:gd name="T9" fmla="*/ 0 h 80"/>
                <a:gd name="T10" fmla="*/ 108 w 108"/>
                <a:gd name="T11" fmla="*/ 8 h 80"/>
                <a:gd name="T12" fmla="*/ 32 w 108"/>
                <a:gd name="T13" fmla="*/ 8 h 80"/>
                <a:gd name="T14" fmla="*/ 8 w 108"/>
                <a:gd name="T15" fmla="*/ 32 h 80"/>
                <a:gd name="T16" fmla="*/ 8 w 108"/>
                <a:gd name="T1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80">
                  <a:moveTo>
                    <a:pt x="8" y="8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5"/>
                    <a:pt x="14" y="0"/>
                    <a:pt x="32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8"/>
                    <a:pt x="108" y="8"/>
                    <a:pt x="108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19" y="8"/>
                    <a:pt x="8" y="19"/>
                    <a:pt x="8" y="32"/>
                  </a:cubicBezTo>
                  <a:lnTo>
                    <a:pt x="8" y="8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13" name="Freeform 164"/>
            <p:cNvSpPr>
              <a:spLocks/>
            </p:cNvSpPr>
            <p:nvPr/>
          </p:nvSpPr>
          <p:spPr bwMode="auto">
            <a:xfrm>
              <a:off x="4724401" y="3825876"/>
              <a:ext cx="73025" cy="44450"/>
            </a:xfrm>
            <a:custGeom>
              <a:avLst/>
              <a:gdLst>
                <a:gd name="T0" fmla="*/ 32 w 38"/>
                <a:gd name="T1" fmla="*/ 23 h 23"/>
                <a:gd name="T2" fmla="*/ 19 w 38"/>
                <a:gd name="T3" fmla="*/ 10 h 23"/>
                <a:gd name="T4" fmla="*/ 6 w 38"/>
                <a:gd name="T5" fmla="*/ 23 h 23"/>
                <a:gd name="T6" fmla="*/ 0 w 38"/>
                <a:gd name="T7" fmla="*/ 18 h 23"/>
                <a:gd name="T8" fmla="*/ 16 w 38"/>
                <a:gd name="T9" fmla="*/ 2 h 23"/>
                <a:gd name="T10" fmla="*/ 22 w 38"/>
                <a:gd name="T11" fmla="*/ 2 h 23"/>
                <a:gd name="T12" fmla="*/ 38 w 38"/>
                <a:gd name="T13" fmla="*/ 18 h 23"/>
                <a:gd name="T14" fmla="*/ 32 w 38"/>
                <a:gd name="T1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23">
                  <a:moveTo>
                    <a:pt x="32" y="23"/>
                  </a:moveTo>
                  <a:cubicBezTo>
                    <a:pt x="19" y="10"/>
                    <a:pt x="19" y="10"/>
                    <a:pt x="19" y="10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8" y="0"/>
                    <a:pt x="20" y="0"/>
                    <a:pt x="22" y="2"/>
                  </a:cubicBezTo>
                  <a:cubicBezTo>
                    <a:pt x="38" y="18"/>
                    <a:pt x="38" y="18"/>
                    <a:pt x="38" y="18"/>
                  </a:cubicBezTo>
                  <a:lnTo>
                    <a:pt x="32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14" name="Freeform 165"/>
            <p:cNvSpPr>
              <a:spLocks/>
            </p:cNvSpPr>
            <p:nvPr/>
          </p:nvSpPr>
          <p:spPr bwMode="auto">
            <a:xfrm>
              <a:off x="4559301" y="3833813"/>
              <a:ext cx="209550" cy="153988"/>
            </a:xfrm>
            <a:custGeom>
              <a:avLst/>
              <a:gdLst>
                <a:gd name="T0" fmla="*/ 76 w 108"/>
                <a:gd name="T1" fmla="*/ 80 h 80"/>
                <a:gd name="T2" fmla="*/ 0 w 108"/>
                <a:gd name="T3" fmla="*/ 80 h 80"/>
                <a:gd name="T4" fmla="*/ 0 w 108"/>
                <a:gd name="T5" fmla="*/ 72 h 80"/>
                <a:gd name="T6" fmla="*/ 76 w 108"/>
                <a:gd name="T7" fmla="*/ 72 h 80"/>
                <a:gd name="T8" fmla="*/ 100 w 108"/>
                <a:gd name="T9" fmla="*/ 48 h 80"/>
                <a:gd name="T10" fmla="*/ 100 w 108"/>
                <a:gd name="T11" fmla="*/ 0 h 80"/>
                <a:gd name="T12" fmla="*/ 108 w 108"/>
                <a:gd name="T13" fmla="*/ 0 h 80"/>
                <a:gd name="T14" fmla="*/ 108 w 108"/>
                <a:gd name="T15" fmla="*/ 48 h 80"/>
                <a:gd name="T16" fmla="*/ 76 w 108"/>
                <a:gd name="T1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80">
                  <a:moveTo>
                    <a:pt x="76" y="8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76" y="72"/>
                    <a:pt x="76" y="72"/>
                    <a:pt x="76" y="72"/>
                  </a:cubicBezTo>
                  <a:cubicBezTo>
                    <a:pt x="89" y="72"/>
                    <a:pt x="100" y="62"/>
                    <a:pt x="100" y="48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48"/>
                    <a:pt x="108" y="48"/>
                    <a:pt x="108" y="48"/>
                  </a:cubicBezTo>
                  <a:cubicBezTo>
                    <a:pt x="108" y="66"/>
                    <a:pt x="94" y="80"/>
                    <a:pt x="76" y="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15" name="Freeform 166"/>
            <p:cNvSpPr>
              <a:spLocks noEditPoints="1"/>
            </p:cNvSpPr>
            <p:nvPr/>
          </p:nvSpPr>
          <p:spPr bwMode="auto">
            <a:xfrm>
              <a:off x="4559301" y="3740151"/>
              <a:ext cx="93663" cy="107950"/>
            </a:xfrm>
            <a:custGeom>
              <a:avLst/>
              <a:gdLst>
                <a:gd name="T0" fmla="*/ 24 w 48"/>
                <a:gd name="T1" fmla="*/ 56 h 56"/>
                <a:gd name="T2" fmla="*/ 0 w 48"/>
                <a:gd name="T3" fmla="*/ 26 h 56"/>
                <a:gd name="T4" fmla="*/ 24 w 48"/>
                <a:gd name="T5" fmla="*/ 0 h 56"/>
                <a:gd name="T6" fmla="*/ 48 w 48"/>
                <a:gd name="T7" fmla="*/ 26 h 56"/>
                <a:gd name="T8" fmla="*/ 24 w 48"/>
                <a:gd name="T9" fmla="*/ 56 h 56"/>
                <a:gd name="T10" fmla="*/ 24 w 48"/>
                <a:gd name="T11" fmla="*/ 8 h 56"/>
                <a:gd name="T12" fmla="*/ 8 w 48"/>
                <a:gd name="T13" fmla="*/ 26 h 56"/>
                <a:gd name="T14" fmla="*/ 24 w 48"/>
                <a:gd name="T15" fmla="*/ 48 h 56"/>
                <a:gd name="T16" fmla="*/ 40 w 48"/>
                <a:gd name="T17" fmla="*/ 26 h 56"/>
                <a:gd name="T18" fmla="*/ 24 w 48"/>
                <a:gd name="T19" fmla="*/ 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56">
                  <a:moveTo>
                    <a:pt x="24" y="56"/>
                  </a:moveTo>
                  <a:cubicBezTo>
                    <a:pt x="10" y="56"/>
                    <a:pt x="0" y="44"/>
                    <a:pt x="0" y="26"/>
                  </a:cubicBezTo>
                  <a:cubicBezTo>
                    <a:pt x="0" y="14"/>
                    <a:pt x="3" y="0"/>
                    <a:pt x="24" y="0"/>
                  </a:cubicBezTo>
                  <a:cubicBezTo>
                    <a:pt x="45" y="0"/>
                    <a:pt x="48" y="14"/>
                    <a:pt x="48" y="26"/>
                  </a:cubicBezTo>
                  <a:cubicBezTo>
                    <a:pt x="48" y="44"/>
                    <a:pt x="38" y="56"/>
                    <a:pt x="24" y="56"/>
                  </a:cubicBezTo>
                  <a:close/>
                  <a:moveTo>
                    <a:pt x="24" y="8"/>
                  </a:moveTo>
                  <a:cubicBezTo>
                    <a:pt x="12" y="8"/>
                    <a:pt x="8" y="13"/>
                    <a:pt x="8" y="26"/>
                  </a:cubicBezTo>
                  <a:cubicBezTo>
                    <a:pt x="8" y="37"/>
                    <a:pt x="14" y="48"/>
                    <a:pt x="24" y="48"/>
                  </a:cubicBezTo>
                  <a:cubicBezTo>
                    <a:pt x="34" y="48"/>
                    <a:pt x="40" y="37"/>
                    <a:pt x="40" y="26"/>
                  </a:cubicBezTo>
                  <a:cubicBezTo>
                    <a:pt x="40" y="13"/>
                    <a:pt x="36" y="8"/>
                    <a:pt x="24" y="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16" name="Freeform 167"/>
            <p:cNvSpPr>
              <a:spLocks/>
            </p:cNvSpPr>
            <p:nvPr/>
          </p:nvSpPr>
          <p:spPr bwMode="auto">
            <a:xfrm>
              <a:off x="4521201" y="3827463"/>
              <a:ext cx="169863" cy="82550"/>
            </a:xfrm>
            <a:custGeom>
              <a:avLst/>
              <a:gdLst>
                <a:gd name="T0" fmla="*/ 76 w 88"/>
                <a:gd name="T1" fmla="*/ 43 h 43"/>
                <a:gd name="T2" fmla="*/ 12 w 88"/>
                <a:gd name="T3" fmla="*/ 43 h 43"/>
                <a:gd name="T4" fmla="*/ 0 w 88"/>
                <a:gd name="T5" fmla="*/ 27 h 43"/>
                <a:gd name="T6" fmla="*/ 0 w 88"/>
                <a:gd name="T7" fmla="*/ 17 h 43"/>
                <a:gd name="T8" fmla="*/ 30 w 88"/>
                <a:gd name="T9" fmla="*/ 0 h 43"/>
                <a:gd name="T10" fmla="*/ 34 w 88"/>
                <a:gd name="T11" fmla="*/ 7 h 43"/>
                <a:gd name="T12" fmla="*/ 8 w 88"/>
                <a:gd name="T13" fmla="*/ 22 h 43"/>
                <a:gd name="T14" fmla="*/ 8 w 88"/>
                <a:gd name="T15" fmla="*/ 27 h 43"/>
                <a:gd name="T16" fmla="*/ 12 w 88"/>
                <a:gd name="T17" fmla="*/ 35 h 43"/>
                <a:gd name="T18" fmla="*/ 76 w 88"/>
                <a:gd name="T19" fmla="*/ 35 h 43"/>
                <a:gd name="T20" fmla="*/ 80 w 88"/>
                <a:gd name="T21" fmla="*/ 27 h 43"/>
                <a:gd name="T22" fmla="*/ 80 w 88"/>
                <a:gd name="T23" fmla="*/ 22 h 43"/>
                <a:gd name="T24" fmla="*/ 54 w 88"/>
                <a:gd name="T25" fmla="*/ 7 h 43"/>
                <a:gd name="T26" fmla="*/ 58 w 88"/>
                <a:gd name="T27" fmla="*/ 0 h 43"/>
                <a:gd name="T28" fmla="*/ 88 w 88"/>
                <a:gd name="T29" fmla="*/ 17 h 43"/>
                <a:gd name="T30" fmla="*/ 88 w 88"/>
                <a:gd name="T31" fmla="*/ 27 h 43"/>
                <a:gd name="T32" fmla="*/ 76 w 88"/>
                <a:gd name="T3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" h="43">
                  <a:moveTo>
                    <a:pt x="76" y="43"/>
                  </a:moveTo>
                  <a:cubicBezTo>
                    <a:pt x="12" y="43"/>
                    <a:pt x="12" y="43"/>
                    <a:pt x="12" y="43"/>
                  </a:cubicBezTo>
                  <a:cubicBezTo>
                    <a:pt x="5" y="43"/>
                    <a:pt x="0" y="36"/>
                    <a:pt x="0" y="2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32"/>
                    <a:pt x="11" y="35"/>
                    <a:pt x="12" y="35"/>
                  </a:cubicBezTo>
                  <a:cubicBezTo>
                    <a:pt x="76" y="35"/>
                    <a:pt x="76" y="35"/>
                    <a:pt x="76" y="35"/>
                  </a:cubicBezTo>
                  <a:cubicBezTo>
                    <a:pt x="77" y="35"/>
                    <a:pt x="80" y="32"/>
                    <a:pt x="80" y="27"/>
                  </a:cubicBezTo>
                  <a:cubicBezTo>
                    <a:pt x="80" y="22"/>
                    <a:pt x="80" y="22"/>
                    <a:pt x="80" y="22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8" y="17"/>
                    <a:pt x="88" y="17"/>
                    <a:pt x="88" y="17"/>
                  </a:cubicBezTo>
                  <a:cubicBezTo>
                    <a:pt x="88" y="27"/>
                    <a:pt x="88" y="27"/>
                    <a:pt x="88" y="27"/>
                  </a:cubicBezTo>
                  <a:cubicBezTo>
                    <a:pt x="88" y="36"/>
                    <a:pt x="82" y="43"/>
                    <a:pt x="76" y="4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17" name="Freeform 168"/>
            <p:cNvSpPr>
              <a:spLocks noEditPoints="1"/>
            </p:cNvSpPr>
            <p:nvPr/>
          </p:nvSpPr>
          <p:spPr bwMode="auto">
            <a:xfrm>
              <a:off x="4395788" y="3910013"/>
              <a:ext cx="93663" cy="109538"/>
            </a:xfrm>
            <a:custGeom>
              <a:avLst/>
              <a:gdLst>
                <a:gd name="T0" fmla="*/ 24 w 48"/>
                <a:gd name="T1" fmla="*/ 56 h 56"/>
                <a:gd name="T2" fmla="*/ 0 w 48"/>
                <a:gd name="T3" fmla="*/ 26 h 56"/>
                <a:gd name="T4" fmla="*/ 24 w 48"/>
                <a:gd name="T5" fmla="*/ 0 h 56"/>
                <a:gd name="T6" fmla="*/ 48 w 48"/>
                <a:gd name="T7" fmla="*/ 26 h 56"/>
                <a:gd name="T8" fmla="*/ 24 w 48"/>
                <a:gd name="T9" fmla="*/ 56 h 56"/>
                <a:gd name="T10" fmla="*/ 24 w 48"/>
                <a:gd name="T11" fmla="*/ 8 h 56"/>
                <a:gd name="T12" fmla="*/ 8 w 48"/>
                <a:gd name="T13" fmla="*/ 26 h 56"/>
                <a:gd name="T14" fmla="*/ 24 w 48"/>
                <a:gd name="T15" fmla="*/ 48 h 56"/>
                <a:gd name="T16" fmla="*/ 40 w 48"/>
                <a:gd name="T17" fmla="*/ 26 h 56"/>
                <a:gd name="T18" fmla="*/ 24 w 48"/>
                <a:gd name="T19" fmla="*/ 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56">
                  <a:moveTo>
                    <a:pt x="24" y="56"/>
                  </a:moveTo>
                  <a:cubicBezTo>
                    <a:pt x="10" y="56"/>
                    <a:pt x="0" y="44"/>
                    <a:pt x="0" y="26"/>
                  </a:cubicBezTo>
                  <a:cubicBezTo>
                    <a:pt x="0" y="14"/>
                    <a:pt x="3" y="0"/>
                    <a:pt x="24" y="0"/>
                  </a:cubicBezTo>
                  <a:cubicBezTo>
                    <a:pt x="45" y="0"/>
                    <a:pt x="48" y="14"/>
                    <a:pt x="48" y="26"/>
                  </a:cubicBezTo>
                  <a:cubicBezTo>
                    <a:pt x="48" y="44"/>
                    <a:pt x="38" y="56"/>
                    <a:pt x="24" y="56"/>
                  </a:cubicBezTo>
                  <a:close/>
                  <a:moveTo>
                    <a:pt x="24" y="8"/>
                  </a:moveTo>
                  <a:cubicBezTo>
                    <a:pt x="12" y="8"/>
                    <a:pt x="8" y="13"/>
                    <a:pt x="8" y="26"/>
                  </a:cubicBezTo>
                  <a:cubicBezTo>
                    <a:pt x="8" y="37"/>
                    <a:pt x="14" y="48"/>
                    <a:pt x="24" y="48"/>
                  </a:cubicBezTo>
                  <a:cubicBezTo>
                    <a:pt x="34" y="48"/>
                    <a:pt x="40" y="37"/>
                    <a:pt x="40" y="26"/>
                  </a:cubicBezTo>
                  <a:cubicBezTo>
                    <a:pt x="40" y="13"/>
                    <a:pt x="36" y="8"/>
                    <a:pt x="24" y="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18" name="Freeform 169"/>
            <p:cNvSpPr>
              <a:spLocks/>
            </p:cNvSpPr>
            <p:nvPr/>
          </p:nvSpPr>
          <p:spPr bwMode="auto">
            <a:xfrm>
              <a:off x="4357688" y="3998913"/>
              <a:ext cx="169863" cy="82550"/>
            </a:xfrm>
            <a:custGeom>
              <a:avLst/>
              <a:gdLst>
                <a:gd name="T0" fmla="*/ 76 w 88"/>
                <a:gd name="T1" fmla="*/ 43 h 43"/>
                <a:gd name="T2" fmla="*/ 12 w 88"/>
                <a:gd name="T3" fmla="*/ 43 h 43"/>
                <a:gd name="T4" fmla="*/ 0 w 88"/>
                <a:gd name="T5" fmla="*/ 27 h 43"/>
                <a:gd name="T6" fmla="*/ 0 w 88"/>
                <a:gd name="T7" fmla="*/ 17 h 43"/>
                <a:gd name="T8" fmla="*/ 30 w 88"/>
                <a:gd name="T9" fmla="*/ 0 h 43"/>
                <a:gd name="T10" fmla="*/ 34 w 88"/>
                <a:gd name="T11" fmla="*/ 7 h 43"/>
                <a:gd name="T12" fmla="*/ 8 w 88"/>
                <a:gd name="T13" fmla="*/ 22 h 43"/>
                <a:gd name="T14" fmla="*/ 8 w 88"/>
                <a:gd name="T15" fmla="*/ 27 h 43"/>
                <a:gd name="T16" fmla="*/ 12 w 88"/>
                <a:gd name="T17" fmla="*/ 35 h 43"/>
                <a:gd name="T18" fmla="*/ 76 w 88"/>
                <a:gd name="T19" fmla="*/ 35 h 43"/>
                <a:gd name="T20" fmla="*/ 80 w 88"/>
                <a:gd name="T21" fmla="*/ 27 h 43"/>
                <a:gd name="T22" fmla="*/ 80 w 88"/>
                <a:gd name="T23" fmla="*/ 22 h 43"/>
                <a:gd name="T24" fmla="*/ 54 w 88"/>
                <a:gd name="T25" fmla="*/ 7 h 43"/>
                <a:gd name="T26" fmla="*/ 58 w 88"/>
                <a:gd name="T27" fmla="*/ 0 h 43"/>
                <a:gd name="T28" fmla="*/ 88 w 88"/>
                <a:gd name="T29" fmla="*/ 17 h 43"/>
                <a:gd name="T30" fmla="*/ 88 w 88"/>
                <a:gd name="T31" fmla="*/ 27 h 43"/>
                <a:gd name="T32" fmla="*/ 76 w 88"/>
                <a:gd name="T3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" h="43">
                  <a:moveTo>
                    <a:pt x="76" y="43"/>
                  </a:moveTo>
                  <a:cubicBezTo>
                    <a:pt x="12" y="43"/>
                    <a:pt x="12" y="43"/>
                    <a:pt x="12" y="43"/>
                  </a:cubicBezTo>
                  <a:cubicBezTo>
                    <a:pt x="5" y="43"/>
                    <a:pt x="0" y="36"/>
                    <a:pt x="0" y="2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32"/>
                    <a:pt x="11" y="35"/>
                    <a:pt x="12" y="35"/>
                  </a:cubicBezTo>
                  <a:cubicBezTo>
                    <a:pt x="76" y="35"/>
                    <a:pt x="76" y="35"/>
                    <a:pt x="76" y="35"/>
                  </a:cubicBezTo>
                  <a:cubicBezTo>
                    <a:pt x="77" y="35"/>
                    <a:pt x="80" y="32"/>
                    <a:pt x="80" y="27"/>
                  </a:cubicBezTo>
                  <a:cubicBezTo>
                    <a:pt x="80" y="22"/>
                    <a:pt x="80" y="22"/>
                    <a:pt x="80" y="22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8" y="17"/>
                    <a:pt x="88" y="17"/>
                    <a:pt x="88" y="17"/>
                  </a:cubicBezTo>
                  <a:cubicBezTo>
                    <a:pt x="88" y="27"/>
                    <a:pt x="88" y="27"/>
                    <a:pt x="88" y="27"/>
                  </a:cubicBezTo>
                  <a:cubicBezTo>
                    <a:pt x="88" y="36"/>
                    <a:pt x="82" y="43"/>
                    <a:pt x="76" y="4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19" name="Freeform 170"/>
            <p:cNvSpPr>
              <a:spLocks noEditPoints="1"/>
            </p:cNvSpPr>
            <p:nvPr/>
          </p:nvSpPr>
          <p:spPr bwMode="auto">
            <a:xfrm>
              <a:off x="4722813" y="3584576"/>
              <a:ext cx="92075" cy="107950"/>
            </a:xfrm>
            <a:custGeom>
              <a:avLst/>
              <a:gdLst>
                <a:gd name="T0" fmla="*/ 24 w 48"/>
                <a:gd name="T1" fmla="*/ 56 h 56"/>
                <a:gd name="T2" fmla="*/ 0 w 48"/>
                <a:gd name="T3" fmla="*/ 26 h 56"/>
                <a:gd name="T4" fmla="*/ 24 w 48"/>
                <a:gd name="T5" fmla="*/ 0 h 56"/>
                <a:gd name="T6" fmla="*/ 48 w 48"/>
                <a:gd name="T7" fmla="*/ 26 h 56"/>
                <a:gd name="T8" fmla="*/ 24 w 48"/>
                <a:gd name="T9" fmla="*/ 56 h 56"/>
                <a:gd name="T10" fmla="*/ 24 w 48"/>
                <a:gd name="T11" fmla="*/ 8 h 56"/>
                <a:gd name="T12" fmla="*/ 8 w 48"/>
                <a:gd name="T13" fmla="*/ 26 h 56"/>
                <a:gd name="T14" fmla="*/ 24 w 48"/>
                <a:gd name="T15" fmla="*/ 48 h 56"/>
                <a:gd name="T16" fmla="*/ 40 w 48"/>
                <a:gd name="T17" fmla="*/ 26 h 56"/>
                <a:gd name="T18" fmla="*/ 24 w 48"/>
                <a:gd name="T19" fmla="*/ 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56">
                  <a:moveTo>
                    <a:pt x="24" y="56"/>
                  </a:moveTo>
                  <a:cubicBezTo>
                    <a:pt x="10" y="56"/>
                    <a:pt x="0" y="44"/>
                    <a:pt x="0" y="26"/>
                  </a:cubicBezTo>
                  <a:cubicBezTo>
                    <a:pt x="0" y="14"/>
                    <a:pt x="3" y="0"/>
                    <a:pt x="24" y="0"/>
                  </a:cubicBezTo>
                  <a:cubicBezTo>
                    <a:pt x="45" y="0"/>
                    <a:pt x="48" y="14"/>
                    <a:pt x="48" y="26"/>
                  </a:cubicBezTo>
                  <a:cubicBezTo>
                    <a:pt x="48" y="44"/>
                    <a:pt x="38" y="56"/>
                    <a:pt x="24" y="56"/>
                  </a:cubicBezTo>
                  <a:close/>
                  <a:moveTo>
                    <a:pt x="24" y="8"/>
                  </a:moveTo>
                  <a:cubicBezTo>
                    <a:pt x="12" y="8"/>
                    <a:pt x="8" y="13"/>
                    <a:pt x="8" y="26"/>
                  </a:cubicBezTo>
                  <a:cubicBezTo>
                    <a:pt x="8" y="37"/>
                    <a:pt x="14" y="48"/>
                    <a:pt x="24" y="48"/>
                  </a:cubicBezTo>
                  <a:cubicBezTo>
                    <a:pt x="34" y="48"/>
                    <a:pt x="40" y="37"/>
                    <a:pt x="40" y="26"/>
                  </a:cubicBezTo>
                  <a:cubicBezTo>
                    <a:pt x="40" y="13"/>
                    <a:pt x="36" y="8"/>
                    <a:pt x="24" y="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20" name="Freeform 171"/>
            <p:cNvSpPr>
              <a:spLocks/>
            </p:cNvSpPr>
            <p:nvPr/>
          </p:nvSpPr>
          <p:spPr bwMode="auto">
            <a:xfrm>
              <a:off x="4683126" y="3671888"/>
              <a:ext cx="171450" cy="84138"/>
            </a:xfrm>
            <a:custGeom>
              <a:avLst/>
              <a:gdLst>
                <a:gd name="T0" fmla="*/ 76 w 88"/>
                <a:gd name="T1" fmla="*/ 43 h 43"/>
                <a:gd name="T2" fmla="*/ 12 w 88"/>
                <a:gd name="T3" fmla="*/ 43 h 43"/>
                <a:gd name="T4" fmla="*/ 0 w 88"/>
                <a:gd name="T5" fmla="*/ 27 h 43"/>
                <a:gd name="T6" fmla="*/ 0 w 88"/>
                <a:gd name="T7" fmla="*/ 17 h 43"/>
                <a:gd name="T8" fmla="*/ 30 w 88"/>
                <a:gd name="T9" fmla="*/ 0 h 43"/>
                <a:gd name="T10" fmla="*/ 34 w 88"/>
                <a:gd name="T11" fmla="*/ 7 h 43"/>
                <a:gd name="T12" fmla="*/ 8 w 88"/>
                <a:gd name="T13" fmla="*/ 22 h 43"/>
                <a:gd name="T14" fmla="*/ 8 w 88"/>
                <a:gd name="T15" fmla="*/ 27 h 43"/>
                <a:gd name="T16" fmla="*/ 12 w 88"/>
                <a:gd name="T17" fmla="*/ 35 h 43"/>
                <a:gd name="T18" fmla="*/ 76 w 88"/>
                <a:gd name="T19" fmla="*/ 35 h 43"/>
                <a:gd name="T20" fmla="*/ 80 w 88"/>
                <a:gd name="T21" fmla="*/ 27 h 43"/>
                <a:gd name="T22" fmla="*/ 80 w 88"/>
                <a:gd name="T23" fmla="*/ 22 h 43"/>
                <a:gd name="T24" fmla="*/ 54 w 88"/>
                <a:gd name="T25" fmla="*/ 7 h 43"/>
                <a:gd name="T26" fmla="*/ 58 w 88"/>
                <a:gd name="T27" fmla="*/ 0 h 43"/>
                <a:gd name="T28" fmla="*/ 88 w 88"/>
                <a:gd name="T29" fmla="*/ 17 h 43"/>
                <a:gd name="T30" fmla="*/ 88 w 88"/>
                <a:gd name="T31" fmla="*/ 27 h 43"/>
                <a:gd name="T32" fmla="*/ 76 w 88"/>
                <a:gd name="T3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" h="43">
                  <a:moveTo>
                    <a:pt x="76" y="43"/>
                  </a:moveTo>
                  <a:cubicBezTo>
                    <a:pt x="12" y="43"/>
                    <a:pt x="12" y="43"/>
                    <a:pt x="12" y="43"/>
                  </a:cubicBezTo>
                  <a:cubicBezTo>
                    <a:pt x="5" y="43"/>
                    <a:pt x="0" y="36"/>
                    <a:pt x="0" y="2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32"/>
                    <a:pt x="11" y="35"/>
                    <a:pt x="12" y="35"/>
                  </a:cubicBezTo>
                  <a:cubicBezTo>
                    <a:pt x="76" y="35"/>
                    <a:pt x="76" y="35"/>
                    <a:pt x="76" y="35"/>
                  </a:cubicBezTo>
                  <a:cubicBezTo>
                    <a:pt x="77" y="35"/>
                    <a:pt x="80" y="32"/>
                    <a:pt x="80" y="27"/>
                  </a:cubicBezTo>
                  <a:cubicBezTo>
                    <a:pt x="80" y="22"/>
                    <a:pt x="80" y="22"/>
                    <a:pt x="80" y="22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8" y="17"/>
                    <a:pt x="88" y="17"/>
                    <a:pt x="88" y="17"/>
                  </a:cubicBezTo>
                  <a:cubicBezTo>
                    <a:pt x="88" y="27"/>
                    <a:pt x="88" y="27"/>
                    <a:pt x="88" y="27"/>
                  </a:cubicBezTo>
                  <a:cubicBezTo>
                    <a:pt x="88" y="36"/>
                    <a:pt x="82" y="43"/>
                    <a:pt x="76" y="4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5695885" y="3152088"/>
            <a:ext cx="409339" cy="339148"/>
            <a:chOff x="1879601" y="2894013"/>
            <a:chExt cx="495300" cy="373063"/>
          </a:xfrm>
          <a:solidFill>
            <a:srgbClr val="1BCCB3"/>
          </a:solidFill>
        </p:grpSpPr>
        <p:sp>
          <p:nvSpPr>
            <p:cNvPr id="22" name="Freeform 30"/>
            <p:cNvSpPr>
              <a:spLocks/>
            </p:cNvSpPr>
            <p:nvPr/>
          </p:nvSpPr>
          <p:spPr bwMode="auto">
            <a:xfrm>
              <a:off x="2281238" y="2894013"/>
              <a:ext cx="63500" cy="61913"/>
            </a:xfrm>
            <a:custGeom>
              <a:avLst/>
              <a:gdLst>
                <a:gd name="T0" fmla="*/ 40 w 40"/>
                <a:gd name="T1" fmla="*/ 39 h 39"/>
                <a:gd name="T2" fmla="*/ 30 w 40"/>
                <a:gd name="T3" fmla="*/ 39 h 39"/>
                <a:gd name="T4" fmla="*/ 30 w 40"/>
                <a:gd name="T5" fmla="*/ 10 h 39"/>
                <a:gd name="T6" fmla="*/ 0 w 40"/>
                <a:gd name="T7" fmla="*/ 10 h 39"/>
                <a:gd name="T8" fmla="*/ 0 w 40"/>
                <a:gd name="T9" fmla="*/ 0 h 39"/>
                <a:gd name="T10" fmla="*/ 40 w 40"/>
                <a:gd name="T11" fmla="*/ 0 h 39"/>
                <a:gd name="T12" fmla="*/ 40 w 40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39">
                  <a:moveTo>
                    <a:pt x="40" y="39"/>
                  </a:moveTo>
                  <a:lnTo>
                    <a:pt x="30" y="39"/>
                  </a:lnTo>
                  <a:lnTo>
                    <a:pt x="30" y="10"/>
                  </a:lnTo>
                  <a:lnTo>
                    <a:pt x="0" y="10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23" name="Freeform 31"/>
            <p:cNvSpPr>
              <a:spLocks/>
            </p:cNvSpPr>
            <p:nvPr/>
          </p:nvSpPr>
          <p:spPr bwMode="auto">
            <a:xfrm>
              <a:off x="1973263" y="2898776"/>
              <a:ext cx="368300" cy="242888"/>
            </a:xfrm>
            <a:custGeom>
              <a:avLst/>
              <a:gdLst>
                <a:gd name="T0" fmla="*/ 8 w 232"/>
                <a:gd name="T1" fmla="*/ 153 h 153"/>
                <a:gd name="T2" fmla="*/ 0 w 232"/>
                <a:gd name="T3" fmla="*/ 146 h 153"/>
                <a:gd name="T4" fmla="*/ 87 w 232"/>
                <a:gd name="T5" fmla="*/ 60 h 153"/>
                <a:gd name="T6" fmla="*/ 126 w 232"/>
                <a:gd name="T7" fmla="*/ 99 h 153"/>
                <a:gd name="T8" fmla="*/ 225 w 232"/>
                <a:gd name="T9" fmla="*/ 0 h 153"/>
                <a:gd name="T10" fmla="*/ 232 w 232"/>
                <a:gd name="T11" fmla="*/ 6 h 153"/>
                <a:gd name="T12" fmla="*/ 126 w 232"/>
                <a:gd name="T13" fmla="*/ 112 h 153"/>
                <a:gd name="T14" fmla="*/ 87 w 232"/>
                <a:gd name="T15" fmla="*/ 73 h 153"/>
                <a:gd name="T16" fmla="*/ 8 w 232"/>
                <a:gd name="T17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2" h="153">
                  <a:moveTo>
                    <a:pt x="8" y="153"/>
                  </a:moveTo>
                  <a:lnTo>
                    <a:pt x="0" y="146"/>
                  </a:lnTo>
                  <a:lnTo>
                    <a:pt x="87" y="60"/>
                  </a:lnTo>
                  <a:lnTo>
                    <a:pt x="126" y="99"/>
                  </a:lnTo>
                  <a:lnTo>
                    <a:pt x="225" y="0"/>
                  </a:lnTo>
                  <a:lnTo>
                    <a:pt x="232" y="6"/>
                  </a:lnTo>
                  <a:lnTo>
                    <a:pt x="126" y="112"/>
                  </a:lnTo>
                  <a:lnTo>
                    <a:pt x="87" y="73"/>
                  </a:lnTo>
                  <a:lnTo>
                    <a:pt x="8" y="1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24" name="Freeform 32"/>
            <p:cNvSpPr>
              <a:spLocks noEditPoints="1"/>
            </p:cNvSpPr>
            <p:nvPr/>
          </p:nvSpPr>
          <p:spPr bwMode="auto">
            <a:xfrm>
              <a:off x="1879601" y="3205163"/>
              <a:ext cx="495300" cy="61913"/>
            </a:xfrm>
            <a:custGeom>
              <a:avLst/>
              <a:gdLst>
                <a:gd name="T0" fmla="*/ 290 w 312"/>
                <a:gd name="T1" fmla="*/ 39 h 39"/>
                <a:gd name="T2" fmla="*/ 23 w 312"/>
                <a:gd name="T3" fmla="*/ 39 h 39"/>
                <a:gd name="T4" fmla="*/ 0 w 312"/>
                <a:gd name="T5" fmla="*/ 17 h 39"/>
                <a:gd name="T6" fmla="*/ 0 w 312"/>
                <a:gd name="T7" fmla="*/ 0 h 39"/>
                <a:gd name="T8" fmla="*/ 124 w 312"/>
                <a:gd name="T9" fmla="*/ 0 h 39"/>
                <a:gd name="T10" fmla="*/ 134 w 312"/>
                <a:gd name="T11" fmla="*/ 10 h 39"/>
                <a:gd name="T12" fmla="*/ 179 w 312"/>
                <a:gd name="T13" fmla="*/ 10 h 39"/>
                <a:gd name="T14" fmla="*/ 189 w 312"/>
                <a:gd name="T15" fmla="*/ 0 h 39"/>
                <a:gd name="T16" fmla="*/ 312 w 312"/>
                <a:gd name="T17" fmla="*/ 0 h 39"/>
                <a:gd name="T18" fmla="*/ 312 w 312"/>
                <a:gd name="T19" fmla="*/ 17 h 39"/>
                <a:gd name="T20" fmla="*/ 290 w 312"/>
                <a:gd name="T21" fmla="*/ 39 h 39"/>
                <a:gd name="T22" fmla="*/ 26 w 312"/>
                <a:gd name="T23" fmla="*/ 29 h 39"/>
                <a:gd name="T24" fmla="*/ 286 w 312"/>
                <a:gd name="T25" fmla="*/ 29 h 39"/>
                <a:gd name="T26" fmla="*/ 302 w 312"/>
                <a:gd name="T27" fmla="*/ 13 h 39"/>
                <a:gd name="T28" fmla="*/ 302 w 312"/>
                <a:gd name="T29" fmla="*/ 10 h 39"/>
                <a:gd name="T30" fmla="*/ 192 w 312"/>
                <a:gd name="T31" fmla="*/ 10 h 39"/>
                <a:gd name="T32" fmla="*/ 183 w 312"/>
                <a:gd name="T33" fmla="*/ 19 h 39"/>
                <a:gd name="T34" fmla="*/ 130 w 312"/>
                <a:gd name="T35" fmla="*/ 19 h 39"/>
                <a:gd name="T36" fmla="*/ 120 w 312"/>
                <a:gd name="T37" fmla="*/ 10 h 39"/>
                <a:gd name="T38" fmla="*/ 9 w 312"/>
                <a:gd name="T39" fmla="*/ 10 h 39"/>
                <a:gd name="T40" fmla="*/ 9 w 312"/>
                <a:gd name="T41" fmla="*/ 13 h 39"/>
                <a:gd name="T42" fmla="*/ 26 w 312"/>
                <a:gd name="T43" fmla="*/ 2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12" h="39">
                  <a:moveTo>
                    <a:pt x="290" y="39"/>
                  </a:moveTo>
                  <a:lnTo>
                    <a:pt x="23" y="39"/>
                  </a:lnTo>
                  <a:lnTo>
                    <a:pt x="0" y="17"/>
                  </a:lnTo>
                  <a:lnTo>
                    <a:pt x="0" y="0"/>
                  </a:lnTo>
                  <a:lnTo>
                    <a:pt x="124" y="0"/>
                  </a:lnTo>
                  <a:lnTo>
                    <a:pt x="134" y="10"/>
                  </a:lnTo>
                  <a:lnTo>
                    <a:pt x="179" y="10"/>
                  </a:lnTo>
                  <a:lnTo>
                    <a:pt x="189" y="0"/>
                  </a:lnTo>
                  <a:lnTo>
                    <a:pt x="312" y="0"/>
                  </a:lnTo>
                  <a:lnTo>
                    <a:pt x="312" y="17"/>
                  </a:lnTo>
                  <a:lnTo>
                    <a:pt x="290" y="39"/>
                  </a:lnTo>
                  <a:close/>
                  <a:moveTo>
                    <a:pt x="26" y="29"/>
                  </a:moveTo>
                  <a:lnTo>
                    <a:pt x="286" y="29"/>
                  </a:lnTo>
                  <a:lnTo>
                    <a:pt x="302" y="13"/>
                  </a:lnTo>
                  <a:lnTo>
                    <a:pt x="302" y="10"/>
                  </a:lnTo>
                  <a:lnTo>
                    <a:pt x="192" y="10"/>
                  </a:lnTo>
                  <a:lnTo>
                    <a:pt x="183" y="19"/>
                  </a:lnTo>
                  <a:lnTo>
                    <a:pt x="130" y="19"/>
                  </a:lnTo>
                  <a:lnTo>
                    <a:pt x="120" y="10"/>
                  </a:lnTo>
                  <a:lnTo>
                    <a:pt x="9" y="10"/>
                  </a:lnTo>
                  <a:lnTo>
                    <a:pt x="9" y="13"/>
                  </a:lnTo>
                  <a:lnTo>
                    <a:pt x="26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25" name="Freeform 33"/>
            <p:cNvSpPr>
              <a:spLocks/>
            </p:cNvSpPr>
            <p:nvPr/>
          </p:nvSpPr>
          <p:spPr bwMode="auto">
            <a:xfrm>
              <a:off x="1909763" y="2894013"/>
              <a:ext cx="341313" cy="295275"/>
            </a:xfrm>
            <a:custGeom>
              <a:avLst/>
              <a:gdLst>
                <a:gd name="T0" fmla="*/ 8 w 176"/>
                <a:gd name="T1" fmla="*/ 152 h 152"/>
                <a:gd name="T2" fmla="*/ 0 w 176"/>
                <a:gd name="T3" fmla="*/ 152 h 152"/>
                <a:gd name="T4" fmla="*/ 0 w 176"/>
                <a:gd name="T5" fmla="*/ 16 h 152"/>
                <a:gd name="T6" fmla="*/ 16 w 176"/>
                <a:gd name="T7" fmla="*/ 0 h 152"/>
                <a:gd name="T8" fmla="*/ 176 w 176"/>
                <a:gd name="T9" fmla="*/ 0 h 152"/>
                <a:gd name="T10" fmla="*/ 176 w 176"/>
                <a:gd name="T11" fmla="*/ 8 h 152"/>
                <a:gd name="T12" fmla="*/ 16 w 176"/>
                <a:gd name="T13" fmla="*/ 8 h 152"/>
                <a:gd name="T14" fmla="*/ 8 w 176"/>
                <a:gd name="T15" fmla="*/ 16 h 152"/>
                <a:gd name="T16" fmla="*/ 8 w 176"/>
                <a:gd name="T17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52">
                  <a:moveTo>
                    <a:pt x="8" y="152"/>
                  </a:moveTo>
                  <a:cubicBezTo>
                    <a:pt x="0" y="152"/>
                    <a:pt x="0" y="152"/>
                    <a:pt x="0" y="15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76" y="8"/>
                    <a:pt x="176" y="8"/>
                    <a:pt x="17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2" y="8"/>
                    <a:pt x="8" y="12"/>
                    <a:pt x="8" y="16"/>
                  </a:cubicBezTo>
                  <a:lnTo>
                    <a:pt x="8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26" name="Rectangle 34"/>
            <p:cNvSpPr>
              <a:spLocks noChangeArrowheads="1"/>
            </p:cNvSpPr>
            <p:nvPr/>
          </p:nvSpPr>
          <p:spPr bwMode="auto">
            <a:xfrm>
              <a:off x="2328863" y="2987676"/>
              <a:ext cx="15875" cy="201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27" name="Freeform 35"/>
            <p:cNvSpPr>
              <a:spLocks/>
            </p:cNvSpPr>
            <p:nvPr/>
          </p:nvSpPr>
          <p:spPr bwMode="auto">
            <a:xfrm>
              <a:off x="1941513" y="2925763"/>
              <a:ext cx="371475" cy="247650"/>
            </a:xfrm>
            <a:custGeom>
              <a:avLst/>
              <a:gdLst>
                <a:gd name="T0" fmla="*/ 234 w 234"/>
                <a:gd name="T1" fmla="*/ 156 h 156"/>
                <a:gd name="T2" fmla="*/ 0 w 234"/>
                <a:gd name="T3" fmla="*/ 156 h 156"/>
                <a:gd name="T4" fmla="*/ 0 w 234"/>
                <a:gd name="T5" fmla="*/ 0 h 156"/>
                <a:gd name="T6" fmla="*/ 195 w 234"/>
                <a:gd name="T7" fmla="*/ 0 h 156"/>
                <a:gd name="T8" fmla="*/ 195 w 234"/>
                <a:gd name="T9" fmla="*/ 10 h 156"/>
                <a:gd name="T10" fmla="*/ 9 w 234"/>
                <a:gd name="T11" fmla="*/ 10 h 156"/>
                <a:gd name="T12" fmla="*/ 9 w 234"/>
                <a:gd name="T13" fmla="*/ 147 h 156"/>
                <a:gd name="T14" fmla="*/ 224 w 234"/>
                <a:gd name="T15" fmla="*/ 147 h 156"/>
                <a:gd name="T16" fmla="*/ 224 w 234"/>
                <a:gd name="T17" fmla="*/ 39 h 156"/>
                <a:gd name="T18" fmla="*/ 234 w 234"/>
                <a:gd name="T19" fmla="*/ 39 h 156"/>
                <a:gd name="T20" fmla="*/ 234 w 234"/>
                <a:gd name="T21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4" h="156">
                  <a:moveTo>
                    <a:pt x="234" y="156"/>
                  </a:moveTo>
                  <a:lnTo>
                    <a:pt x="0" y="156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10"/>
                  </a:lnTo>
                  <a:lnTo>
                    <a:pt x="9" y="10"/>
                  </a:lnTo>
                  <a:lnTo>
                    <a:pt x="9" y="147"/>
                  </a:lnTo>
                  <a:lnTo>
                    <a:pt x="224" y="147"/>
                  </a:lnTo>
                  <a:lnTo>
                    <a:pt x="224" y="39"/>
                  </a:lnTo>
                  <a:lnTo>
                    <a:pt x="234" y="39"/>
                  </a:lnTo>
                  <a:lnTo>
                    <a:pt x="234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28" name="Rectangle 36"/>
            <p:cNvSpPr>
              <a:spLocks noChangeArrowheads="1"/>
            </p:cNvSpPr>
            <p:nvPr/>
          </p:nvSpPr>
          <p:spPr bwMode="auto">
            <a:xfrm>
              <a:off x="2057401" y="3095626"/>
              <a:ext cx="158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29" name="Rectangle 37"/>
            <p:cNvSpPr>
              <a:spLocks noChangeArrowheads="1"/>
            </p:cNvSpPr>
            <p:nvPr/>
          </p:nvSpPr>
          <p:spPr bwMode="auto">
            <a:xfrm>
              <a:off x="2025651" y="3127376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30" name="Rectangle 38"/>
            <p:cNvSpPr>
              <a:spLocks noChangeArrowheads="1"/>
            </p:cNvSpPr>
            <p:nvPr/>
          </p:nvSpPr>
          <p:spPr bwMode="auto">
            <a:xfrm>
              <a:off x="2087563" y="3065463"/>
              <a:ext cx="15875" cy="777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31" name="Rectangle 39"/>
            <p:cNvSpPr>
              <a:spLocks noChangeArrowheads="1"/>
            </p:cNvSpPr>
            <p:nvPr/>
          </p:nvSpPr>
          <p:spPr bwMode="auto">
            <a:xfrm>
              <a:off x="2119313" y="3065463"/>
              <a:ext cx="15875" cy="777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32" name="Rectangle 40"/>
            <p:cNvSpPr>
              <a:spLocks noChangeArrowheads="1"/>
            </p:cNvSpPr>
            <p:nvPr/>
          </p:nvSpPr>
          <p:spPr bwMode="auto">
            <a:xfrm>
              <a:off x="2149476" y="3095626"/>
              <a:ext cx="158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33" name="Rectangle 41"/>
            <p:cNvSpPr>
              <a:spLocks noChangeArrowheads="1"/>
            </p:cNvSpPr>
            <p:nvPr/>
          </p:nvSpPr>
          <p:spPr bwMode="auto">
            <a:xfrm>
              <a:off x="2181226" y="3095626"/>
              <a:ext cx="158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34" name="Rectangle 42"/>
            <p:cNvSpPr>
              <a:spLocks noChangeArrowheads="1"/>
            </p:cNvSpPr>
            <p:nvPr/>
          </p:nvSpPr>
          <p:spPr bwMode="auto">
            <a:xfrm>
              <a:off x="2212976" y="3065463"/>
              <a:ext cx="14288" cy="777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35" name="Rectangle 43"/>
            <p:cNvSpPr>
              <a:spLocks noChangeArrowheads="1"/>
            </p:cNvSpPr>
            <p:nvPr/>
          </p:nvSpPr>
          <p:spPr bwMode="auto">
            <a:xfrm>
              <a:off x="2243138" y="3033713"/>
              <a:ext cx="15875" cy="109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</p:grpSp>
      <p:sp>
        <p:nvSpPr>
          <p:cNvPr id="36" name="Прямоугольник 35"/>
          <p:cNvSpPr/>
          <p:nvPr/>
        </p:nvSpPr>
        <p:spPr>
          <a:xfrm>
            <a:off x="122989" y="1407560"/>
            <a:ext cx="4716667" cy="5198723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16" r="15277" b="21185"/>
          <a:stretch/>
        </p:blipFill>
        <p:spPr>
          <a:xfrm>
            <a:off x="696975" y="1554192"/>
            <a:ext cx="4365718" cy="2997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110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992FC779-CBCA-1C4F-ABBF-572EB2195FA8}"/>
              </a:ext>
            </a:extLst>
          </p:cNvPr>
          <p:cNvSpPr/>
          <p:nvPr/>
        </p:nvSpPr>
        <p:spPr>
          <a:xfrm>
            <a:off x="672123" y="126428"/>
            <a:ext cx="11478781" cy="861370"/>
          </a:xfrm>
          <a:prstGeom prst="rect">
            <a:avLst/>
          </a:prstGeom>
        </p:spPr>
        <p:txBody>
          <a:bodyPr wrap="square" lIns="121485" tIns="60760" rIns="121485" bIns="60760">
            <a:spAutoFit/>
          </a:bodyPr>
          <a:lstStyle/>
          <a:p>
            <a:pPr lvl="0">
              <a:defRPr/>
            </a:pPr>
            <a:r>
              <a:rPr lang="ru-RU" sz="2800" b="1" dirty="0">
                <a:solidFill>
                  <a:srgbClr val="1BCCB3"/>
                </a:solidFill>
              </a:rPr>
              <a:t>Участие государства и механизмы помощи инвесторам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dirty="0" smtClean="0">
                <a:solidFill>
                  <a:prstClr val="white"/>
                </a:solidFill>
                <a:latin typeface="Century Gothic" panose="020B0502020202020204"/>
              </a:rPr>
              <a:t>с внесением изменений 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в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законодательство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1BCCB3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" name="Овал 2"/>
          <p:cNvSpPr/>
          <p:nvPr/>
        </p:nvSpPr>
        <p:spPr>
          <a:xfrm>
            <a:off x="81893" y="245854"/>
            <a:ext cx="573986" cy="573986"/>
          </a:xfrm>
          <a:prstGeom prst="ellipse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200" dirty="0" smtClean="0">
                <a:solidFill>
                  <a:prstClr val="white">
                    <a:lumMod val="75000"/>
                  </a:prstClr>
                </a:solidFill>
                <a:latin typeface="Century Gothic" panose="020B0502020202020204"/>
              </a:rPr>
              <a:t>4</a:t>
            </a: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1893" y="1216726"/>
            <a:ext cx="5393355" cy="5649942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576" y="1603798"/>
            <a:ext cx="3969911" cy="1965014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317901" y="1264299"/>
            <a:ext cx="524655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i="1" dirty="0">
                <a:solidFill>
                  <a:schemeClr val="bg1"/>
                </a:solidFill>
              </a:rPr>
              <a:t>Симфонический дом Монреаля, Канада, открыт с </a:t>
            </a:r>
            <a:r>
              <a:rPr lang="ru-RU" sz="1100" i="1" dirty="0" smtClean="0">
                <a:solidFill>
                  <a:schemeClr val="bg1"/>
                </a:solidFill>
              </a:rPr>
              <a:t>2011 г.</a:t>
            </a:r>
            <a:endParaRPr lang="ru-RU" sz="1100" i="1" dirty="0">
              <a:solidFill>
                <a:schemeClr val="bg1"/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3526111"/>
              </p:ext>
            </p:extLst>
          </p:nvPr>
        </p:nvGraphicFramePr>
        <p:xfrm>
          <a:off x="368886" y="3765580"/>
          <a:ext cx="4860000" cy="28489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2000">
                  <a:extLst>
                    <a:ext uri="{9D8B030D-6E8A-4147-A177-3AD203B41FA5}">
                      <a16:colId xmlns:a16="http://schemas.microsoft.com/office/drawing/2014/main" val="420426229"/>
                    </a:ext>
                  </a:extLst>
                </a:gridCol>
                <a:gridCol w="3708000">
                  <a:extLst>
                    <a:ext uri="{9D8B030D-6E8A-4147-A177-3AD203B41FA5}">
                      <a16:colId xmlns:a16="http://schemas.microsoft.com/office/drawing/2014/main" val="309599852"/>
                    </a:ext>
                  </a:extLst>
                </a:gridCol>
              </a:tblGrid>
              <a:tr h="660105">
                <a:tc>
                  <a:txBody>
                    <a:bodyPr/>
                    <a:lstStyle/>
                    <a:p>
                      <a:pPr algn="r"/>
                      <a:r>
                        <a:rPr lang="ru-RU" sz="1100" b="0" dirty="0">
                          <a:solidFill>
                            <a:srgbClr val="1BCCB3"/>
                          </a:solidFill>
                        </a:rPr>
                        <a:t>Стороны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астный</a:t>
                      </a:r>
                      <a:r>
                        <a:rPr lang="ru-RU" sz="1100" b="0" kern="1200" baseline="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партнер: </a:t>
                      </a:r>
                      <a:r>
                        <a:rPr lang="ru-RU" sz="1100" b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NC-</a:t>
                      </a:r>
                      <a:r>
                        <a:rPr lang="ru-RU" sz="1100" b="0" kern="1200" dirty="0" err="1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valin</a:t>
                      </a:r>
                      <a:endParaRPr lang="ru-RU" sz="1100" b="0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ru-RU" sz="1100" b="0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убличный партнер:</a:t>
                      </a:r>
                      <a:r>
                        <a:rPr lang="ru-RU" sz="1100" b="0" kern="1200" baseline="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baseline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ав-во Квебека и </a:t>
                      </a:r>
                      <a:r>
                        <a:rPr lang="ru-RU" sz="1100" b="0" kern="1200" baseline="0" dirty="0" err="1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инкульт</a:t>
                      </a:r>
                      <a:endParaRPr lang="ru-RU" sz="11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098728"/>
                  </a:ext>
                </a:extLst>
              </a:tr>
              <a:tr h="846289">
                <a:tc>
                  <a:txBody>
                    <a:bodyPr/>
                    <a:lstStyle/>
                    <a:p>
                      <a:pPr algn="r"/>
                      <a:r>
                        <a:rPr lang="ru-RU" sz="1100" b="0" dirty="0">
                          <a:solidFill>
                            <a:srgbClr val="1BCCB3"/>
                          </a:solidFill>
                        </a:rPr>
                        <a:t>Объем инвестиций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0" dirty="0">
                          <a:solidFill>
                            <a:srgbClr val="1BCCB3"/>
                          </a:solidFill>
                        </a:rPr>
                        <a:t>259 млн канадских </a:t>
                      </a:r>
                      <a:r>
                        <a:rPr lang="en-US" sz="1100" b="0" dirty="0">
                          <a:solidFill>
                            <a:srgbClr val="1BCCB3"/>
                          </a:solidFill>
                        </a:rPr>
                        <a:t>$</a:t>
                      </a:r>
                      <a:r>
                        <a:rPr lang="ru-RU" sz="1100" b="0" dirty="0">
                          <a:solidFill>
                            <a:srgbClr val="1BCCB3"/>
                          </a:solidFill>
                        </a:rPr>
                        <a:t>,</a:t>
                      </a:r>
                      <a:r>
                        <a:rPr lang="ru-RU" sz="1100" b="0" baseline="0" dirty="0">
                          <a:solidFill>
                            <a:srgbClr val="1BCCB3"/>
                          </a:solidFill>
                        </a:rPr>
                        <a:t> </a:t>
                      </a:r>
                      <a:r>
                        <a:rPr lang="ru-RU" sz="1100" b="0" dirty="0">
                          <a:solidFill>
                            <a:schemeClr val="bg1"/>
                          </a:solidFill>
                        </a:rPr>
                        <a:t>из них:</a:t>
                      </a:r>
                    </a:p>
                    <a:p>
                      <a:pPr marL="0" lvl="1" indent="0"/>
                      <a:r>
                        <a:rPr lang="ru-RU" sz="1100" b="0" dirty="0">
                          <a:solidFill>
                            <a:schemeClr val="bg1"/>
                          </a:solidFill>
                        </a:rPr>
                        <a:t>75</a:t>
                      </a:r>
                      <a:r>
                        <a:rPr lang="ru-RU" sz="1100" b="0" baseline="0" dirty="0">
                          <a:solidFill>
                            <a:schemeClr val="bg1"/>
                          </a:solidFill>
                        </a:rPr>
                        <a:t> млн </a:t>
                      </a:r>
                      <a:r>
                        <a:rPr lang="en-US" sz="1100" b="0" baseline="0" dirty="0">
                          <a:solidFill>
                            <a:schemeClr val="bg1"/>
                          </a:solidFill>
                        </a:rPr>
                        <a:t>$ - </a:t>
                      </a:r>
                      <a:r>
                        <a:rPr lang="ru-RU" sz="1100" b="0" baseline="0" dirty="0">
                          <a:solidFill>
                            <a:schemeClr val="bg1"/>
                          </a:solidFill>
                        </a:rPr>
                        <a:t>публичный партнёр + ежегодные платежи за доступность на стадии эксплуатации объекта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9763832"/>
                  </a:ext>
                </a:extLst>
              </a:tr>
              <a:tr h="550589">
                <a:tc>
                  <a:txBody>
                    <a:bodyPr/>
                    <a:lstStyle/>
                    <a:p>
                      <a:pPr algn="r"/>
                      <a:r>
                        <a:rPr lang="ru-RU" sz="1100" b="0" dirty="0">
                          <a:solidFill>
                            <a:srgbClr val="1BCCB3"/>
                          </a:solidFill>
                        </a:rPr>
                        <a:t>Срок соглашения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0" dirty="0">
                          <a:solidFill>
                            <a:srgbClr val="1BCCB3"/>
                          </a:solidFill>
                        </a:rPr>
                        <a:t>На 27</a:t>
                      </a:r>
                      <a:r>
                        <a:rPr lang="ru-RU" sz="1100" b="0" baseline="0" dirty="0">
                          <a:solidFill>
                            <a:srgbClr val="1BCCB3"/>
                          </a:solidFill>
                        </a:rPr>
                        <a:t> лет (частная собственность). </a:t>
                      </a:r>
                      <a:r>
                        <a:rPr lang="ru-RU" sz="1100" b="0" baseline="0" dirty="0">
                          <a:solidFill>
                            <a:schemeClr val="bg1"/>
                          </a:solidFill>
                        </a:rPr>
                        <a:t>Передача в публичную после окончания соглашения</a:t>
                      </a:r>
                      <a:endParaRPr lang="ru-RU" sz="11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7458210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algn="r"/>
                      <a:r>
                        <a:rPr lang="ru-RU" sz="1100" b="0" dirty="0">
                          <a:solidFill>
                            <a:srgbClr val="1BCCB3"/>
                          </a:solidFill>
                        </a:rPr>
                        <a:t>Способ окупаемости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0" dirty="0">
                          <a:solidFill>
                            <a:schemeClr val="bg1"/>
                          </a:solidFill>
                        </a:rPr>
                        <a:t>Плата за доступность</a:t>
                      </a:r>
                    </a:p>
                    <a:p>
                      <a:r>
                        <a:rPr lang="ru-RU" sz="1100" b="0" dirty="0">
                          <a:solidFill>
                            <a:schemeClr val="bg1"/>
                          </a:solidFill>
                        </a:rPr>
                        <a:t>Оплата за билеты и др.</a:t>
                      </a:r>
                      <a:r>
                        <a:rPr lang="ru-RU" sz="1100" b="0" baseline="0" dirty="0">
                          <a:solidFill>
                            <a:schemeClr val="bg1"/>
                          </a:solidFill>
                        </a:rPr>
                        <a:t> услуги</a:t>
                      </a:r>
                    </a:p>
                    <a:p>
                      <a:r>
                        <a:rPr lang="ru-RU" sz="1100" b="0" baseline="0" dirty="0">
                          <a:solidFill>
                            <a:schemeClr val="bg1"/>
                          </a:solidFill>
                        </a:rPr>
                        <a:t>Проведение мероприятий на объекте (вкл. Аренду помещения)</a:t>
                      </a:r>
                      <a:endParaRPr lang="ru-RU" sz="11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4473257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6191382" y="1613388"/>
            <a:ext cx="5613623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E644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Проблема:</a:t>
            </a:r>
          </a:p>
          <a:p>
            <a:pPr lvl="0">
              <a:spcAft>
                <a:spcPts val="600"/>
              </a:spcAft>
              <a:defRPr/>
            </a:pPr>
            <a:r>
              <a:rPr lang="ru-RU" sz="1400" dirty="0">
                <a:solidFill>
                  <a:prstClr val="white"/>
                </a:solidFill>
              </a:rPr>
              <a:t>Крайне низкая экономическая привлекательность потенциальных инвестиций в культуру, в </a:t>
            </a:r>
            <a:r>
              <a:rPr lang="ru-RU" sz="1400" dirty="0" err="1">
                <a:solidFill>
                  <a:prstClr val="white"/>
                </a:solidFill>
              </a:rPr>
              <a:t>т.ч</a:t>
            </a:r>
            <a:r>
              <a:rPr lang="ru-RU" sz="1400" dirty="0">
                <a:solidFill>
                  <a:prstClr val="white"/>
                </a:solidFill>
              </a:rPr>
              <a:t>. с учетом действующих механизмов (налоговый вычет и т.п.)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6191382" y="3103192"/>
            <a:ext cx="5428689" cy="14311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BCCB3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Результат:</a:t>
            </a:r>
          </a:p>
          <a:p>
            <a:pPr lvl="0">
              <a:spcAft>
                <a:spcPts val="600"/>
              </a:spcAft>
              <a:defRPr/>
            </a:pPr>
            <a:r>
              <a:rPr lang="ru-RU" sz="1400" dirty="0">
                <a:solidFill>
                  <a:prstClr val="white"/>
                </a:solidFill>
              </a:rPr>
              <a:t>Количество субъектов РФ с опытом привлечения частных инвестиций, в том числе на базе ГЧП в сфере культуры:</a:t>
            </a:r>
          </a:p>
          <a:p>
            <a:pPr marL="628650" lvl="1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white"/>
                </a:solidFill>
              </a:rPr>
              <a:t>2024 г</a:t>
            </a:r>
            <a:r>
              <a:rPr lang="ru-RU" sz="1400" dirty="0">
                <a:solidFill>
                  <a:prstClr val="white"/>
                </a:solidFill>
              </a:rPr>
              <a:t>. – не менее 40</a:t>
            </a:r>
          </a:p>
          <a:p>
            <a:pPr marL="628650" lvl="1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white"/>
                </a:solidFill>
              </a:rPr>
              <a:t>2030 г</a:t>
            </a:r>
            <a:r>
              <a:rPr lang="ru-RU" sz="1400" dirty="0">
                <a:solidFill>
                  <a:prstClr val="white"/>
                </a:solidFill>
              </a:rPr>
              <a:t>. – все </a:t>
            </a:r>
            <a:r>
              <a:rPr lang="ru-RU" sz="1400" dirty="0" smtClean="0">
                <a:solidFill>
                  <a:prstClr val="white"/>
                </a:solidFill>
              </a:rPr>
              <a:t>субъекты РФ</a:t>
            </a: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231431" y="5155734"/>
            <a:ext cx="5799607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4AAC1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Ресурсы и финансирование:</a:t>
            </a:r>
          </a:p>
          <a:p>
            <a:pPr lvl="0">
              <a:spcAft>
                <a:spcPts val="600"/>
              </a:spcAft>
              <a:defRPr/>
            </a:pPr>
            <a:r>
              <a:rPr lang="ru-RU" sz="1400" dirty="0">
                <a:solidFill>
                  <a:prstClr val="white"/>
                </a:solidFill>
              </a:rPr>
              <a:t>Зависит от конкретных механизмов и проектов (подлежит индивид. расчету)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305187" y="3016994"/>
            <a:ext cx="5499377" cy="0"/>
          </a:xfrm>
          <a:prstGeom prst="line">
            <a:avLst/>
          </a:prstGeom>
          <a:noFill/>
          <a:ln w="9525" cap="flat" cmpd="sng">
            <a:solidFill>
              <a:schemeClr val="bg1">
                <a:lumMod val="50000"/>
              </a:schemeClr>
            </a:solidFill>
            <a:prstDash val="sysDash"/>
            <a:round/>
            <a:headEnd type="none" w="sm" len="sm"/>
            <a:tailEnd type="none" w="sm" len="sm"/>
          </a:ln>
        </p:spPr>
      </p:cxnSp>
      <p:cxnSp>
        <p:nvCxnSpPr>
          <p:cNvPr id="12" name="Прямая соединительная линия 11"/>
          <p:cNvCxnSpPr/>
          <p:nvPr/>
        </p:nvCxnSpPr>
        <p:spPr>
          <a:xfrm>
            <a:off x="6305187" y="4957094"/>
            <a:ext cx="5499377" cy="0"/>
          </a:xfrm>
          <a:prstGeom prst="line">
            <a:avLst/>
          </a:prstGeom>
          <a:noFill/>
          <a:ln w="9525" cap="flat" cmpd="sng">
            <a:solidFill>
              <a:schemeClr val="bg1">
                <a:lumMod val="50000"/>
              </a:schemeClr>
            </a:solidFill>
            <a:prstDash val="sysDash"/>
            <a:round/>
            <a:headEnd type="none" w="sm" len="sm"/>
            <a:tailEnd type="none" w="sm" len="sm"/>
          </a:ln>
        </p:spPr>
      </p:cxnSp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5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9565" y="1592840"/>
            <a:ext cx="359625" cy="351552"/>
          </a:xfrm>
          <a:prstGeom prst="rect">
            <a:avLst/>
          </a:prstGeom>
        </p:spPr>
      </p:pic>
      <p:grpSp>
        <p:nvGrpSpPr>
          <p:cNvPr id="14" name="Группа 13"/>
          <p:cNvGrpSpPr/>
          <p:nvPr/>
        </p:nvGrpSpPr>
        <p:grpSpPr>
          <a:xfrm>
            <a:off x="5747052" y="5127212"/>
            <a:ext cx="451716" cy="451715"/>
            <a:chOff x="4357688" y="3584576"/>
            <a:chExt cx="496888" cy="496887"/>
          </a:xfrm>
          <a:solidFill>
            <a:srgbClr val="04AAC1"/>
          </a:solidFill>
        </p:grpSpPr>
        <p:sp>
          <p:nvSpPr>
            <p:cNvPr id="15" name="Freeform 162"/>
            <p:cNvSpPr>
              <a:spLocks/>
            </p:cNvSpPr>
            <p:nvPr/>
          </p:nvSpPr>
          <p:spPr bwMode="auto">
            <a:xfrm>
              <a:off x="4413251" y="3783013"/>
              <a:ext cx="74613" cy="42863"/>
            </a:xfrm>
            <a:custGeom>
              <a:avLst/>
              <a:gdLst>
                <a:gd name="T0" fmla="*/ 19 w 38"/>
                <a:gd name="T1" fmla="*/ 22 h 22"/>
                <a:gd name="T2" fmla="*/ 16 w 38"/>
                <a:gd name="T3" fmla="*/ 21 h 22"/>
                <a:gd name="T4" fmla="*/ 0 w 38"/>
                <a:gd name="T5" fmla="*/ 5 h 22"/>
                <a:gd name="T6" fmla="*/ 6 w 38"/>
                <a:gd name="T7" fmla="*/ 0 h 22"/>
                <a:gd name="T8" fmla="*/ 19 w 38"/>
                <a:gd name="T9" fmla="*/ 13 h 22"/>
                <a:gd name="T10" fmla="*/ 32 w 38"/>
                <a:gd name="T11" fmla="*/ 0 h 22"/>
                <a:gd name="T12" fmla="*/ 38 w 38"/>
                <a:gd name="T13" fmla="*/ 5 h 22"/>
                <a:gd name="T14" fmla="*/ 22 w 38"/>
                <a:gd name="T15" fmla="*/ 21 h 22"/>
                <a:gd name="T16" fmla="*/ 19 w 38"/>
                <a:gd name="T1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22">
                  <a:moveTo>
                    <a:pt x="19" y="22"/>
                  </a:moveTo>
                  <a:cubicBezTo>
                    <a:pt x="18" y="22"/>
                    <a:pt x="17" y="22"/>
                    <a:pt x="16" y="2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1" y="22"/>
                    <a:pt x="20" y="22"/>
                    <a:pt x="19" y="2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16" name="Freeform 163"/>
            <p:cNvSpPr>
              <a:spLocks/>
            </p:cNvSpPr>
            <p:nvPr/>
          </p:nvSpPr>
          <p:spPr bwMode="auto">
            <a:xfrm>
              <a:off x="4443413" y="3662363"/>
              <a:ext cx="209550" cy="155575"/>
            </a:xfrm>
            <a:custGeom>
              <a:avLst/>
              <a:gdLst>
                <a:gd name="T0" fmla="*/ 8 w 108"/>
                <a:gd name="T1" fmla="*/ 80 h 80"/>
                <a:gd name="T2" fmla="*/ 0 w 108"/>
                <a:gd name="T3" fmla="*/ 80 h 80"/>
                <a:gd name="T4" fmla="*/ 0 w 108"/>
                <a:gd name="T5" fmla="*/ 32 h 80"/>
                <a:gd name="T6" fmla="*/ 32 w 108"/>
                <a:gd name="T7" fmla="*/ 0 h 80"/>
                <a:gd name="T8" fmla="*/ 108 w 108"/>
                <a:gd name="T9" fmla="*/ 0 h 80"/>
                <a:gd name="T10" fmla="*/ 108 w 108"/>
                <a:gd name="T11" fmla="*/ 8 h 80"/>
                <a:gd name="T12" fmla="*/ 32 w 108"/>
                <a:gd name="T13" fmla="*/ 8 h 80"/>
                <a:gd name="T14" fmla="*/ 8 w 108"/>
                <a:gd name="T15" fmla="*/ 32 h 80"/>
                <a:gd name="T16" fmla="*/ 8 w 108"/>
                <a:gd name="T1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80">
                  <a:moveTo>
                    <a:pt x="8" y="8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5"/>
                    <a:pt x="14" y="0"/>
                    <a:pt x="32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8"/>
                    <a:pt x="108" y="8"/>
                    <a:pt x="108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19" y="8"/>
                    <a:pt x="8" y="19"/>
                    <a:pt x="8" y="32"/>
                  </a:cubicBezTo>
                  <a:lnTo>
                    <a:pt x="8" y="8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17" name="Freeform 164"/>
            <p:cNvSpPr>
              <a:spLocks/>
            </p:cNvSpPr>
            <p:nvPr/>
          </p:nvSpPr>
          <p:spPr bwMode="auto">
            <a:xfrm>
              <a:off x="4724401" y="3825876"/>
              <a:ext cx="73025" cy="44450"/>
            </a:xfrm>
            <a:custGeom>
              <a:avLst/>
              <a:gdLst>
                <a:gd name="T0" fmla="*/ 32 w 38"/>
                <a:gd name="T1" fmla="*/ 23 h 23"/>
                <a:gd name="T2" fmla="*/ 19 w 38"/>
                <a:gd name="T3" fmla="*/ 10 h 23"/>
                <a:gd name="T4" fmla="*/ 6 w 38"/>
                <a:gd name="T5" fmla="*/ 23 h 23"/>
                <a:gd name="T6" fmla="*/ 0 w 38"/>
                <a:gd name="T7" fmla="*/ 18 h 23"/>
                <a:gd name="T8" fmla="*/ 16 w 38"/>
                <a:gd name="T9" fmla="*/ 2 h 23"/>
                <a:gd name="T10" fmla="*/ 22 w 38"/>
                <a:gd name="T11" fmla="*/ 2 h 23"/>
                <a:gd name="T12" fmla="*/ 38 w 38"/>
                <a:gd name="T13" fmla="*/ 18 h 23"/>
                <a:gd name="T14" fmla="*/ 32 w 38"/>
                <a:gd name="T1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23">
                  <a:moveTo>
                    <a:pt x="32" y="23"/>
                  </a:moveTo>
                  <a:cubicBezTo>
                    <a:pt x="19" y="10"/>
                    <a:pt x="19" y="10"/>
                    <a:pt x="19" y="10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8" y="0"/>
                    <a:pt x="20" y="0"/>
                    <a:pt x="22" y="2"/>
                  </a:cubicBezTo>
                  <a:cubicBezTo>
                    <a:pt x="38" y="18"/>
                    <a:pt x="38" y="18"/>
                    <a:pt x="38" y="18"/>
                  </a:cubicBezTo>
                  <a:lnTo>
                    <a:pt x="32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18" name="Freeform 165"/>
            <p:cNvSpPr>
              <a:spLocks/>
            </p:cNvSpPr>
            <p:nvPr/>
          </p:nvSpPr>
          <p:spPr bwMode="auto">
            <a:xfrm>
              <a:off x="4559301" y="3833813"/>
              <a:ext cx="209550" cy="153988"/>
            </a:xfrm>
            <a:custGeom>
              <a:avLst/>
              <a:gdLst>
                <a:gd name="T0" fmla="*/ 76 w 108"/>
                <a:gd name="T1" fmla="*/ 80 h 80"/>
                <a:gd name="T2" fmla="*/ 0 w 108"/>
                <a:gd name="T3" fmla="*/ 80 h 80"/>
                <a:gd name="T4" fmla="*/ 0 w 108"/>
                <a:gd name="T5" fmla="*/ 72 h 80"/>
                <a:gd name="T6" fmla="*/ 76 w 108"/>
                <a:gd name="T7" fmla="*/ 72 h 80"/>
                <a:gd name="T8" fmla="*/ 100 w 108"/>
                <a:gd name="T9" fmla="*/ 48 h 80"/>
                <a:gd name="T10" fmla="*/ 100 w 108"/>
                <a:gd name="T11" fmla="*/ 0 h 80"/>
                <a:gd name="T12" fmla="*/ 108 w 108"/>
                <a:gd name="T13" fmla="*/ 0 h 80"/>
                <a:gd name="T14" fmla="*/ 108 w 108"/>
                <a:gd name="T15" fmla="*/ 48 h 80"/>
                <a:gd name="T16" fmla="*/ 76 w 108"/>
                <a:gd name="T1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80">
                  <a:moveTo>
                    <a:pt x="76" y="8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76" y="72"/>
                    <a:pt x="76" y="72"/>
                    <a:pt x="76" y="72"/>
                  </a:cubicBezTo>
                  <a:cubicBezTo>
                    <a:pt x="89" y="72"/>
                    <a:pt x="100" y="62"/>
                    <a:pt x="100" y="48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48"/>
                    <a:pt x="108" y="48"/>
                    <a:pt x="108" y="48"/>
                  </a:cubicBezTo>
                  <a:cubicBezTo>
                    <a:pt x="108" y="66"/>
                    <a:pt x="94" y="80"/>
                    <a:pt x="76" y="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19" name="Freeform 166"/>
            <p:cNvSpPr>
              <a:spLocks noEditPoints="1"/>
            </p:cNvSpPr>
            <p:nvPr/>
          </p:nvSpPr>
          <p:spPr bwMode="auto">
            <a:xfrm>
              <a:off x="4559301" y="3740151"/>
              <a:ext cx="93663" cy="107950"/>
            </a:xfrm>
            <a:custGeom>
              <a:avLst/>
              <a:gdLst>
                <a:gd name="T0" fmla="*/ 24 w 48"/>
                <a:gd name="T1" fmla="*/ 56 h 56"/>
                <a:gd name="T2" fmla="*/ 0 w 48"/>
                <a:gd name="T3" fmla="*/ 26 h 56"/>
                <a:gd name="T4" fmla="*/ 24 w 48"/>
                <a:gd name="T5" fmla="*/ 0 h 56"/>
                <a:gd name="T6" fmla="*/ 48 w 48"/>
                <a:gd name="T7" fmla="*/ 26 h 56"/>
                <a:gd name="T8" fmla="*/ 24 w 48"/>
                <a:gd name="T9" fmla="*/ 56 h 56"/>
                <a:gd name="T10" fmla="*/ 24 w 48"/>
                <a:gd name="T11" fmla="*/ 8 h 56"/>
                <a:gd name="T12" fmla="*/ 8 w 48"/>
                <a:gd name="T13" fmla="*/ 26 h 56"/>
                <a:gd name="T14" fmla="*/ 24 w 48"/>
                <a:gd name="T15" fmla="*/ 48 h 56"/>
                <a:gd name="T16" fmla="*/ 40 w 48"/>
                <a:gd name="T17" fmla="*/ 26 h 56"/>
                <a:gd name="T18" fmla="*/ 24 w 48"/>
                <a:gd name="T19" fmla="*/ 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56">
                  <a:moveTo>
                    <a:pt x="24" y="56"/>
                  </a:moveTo>
                  <a:cubicBezTo>
                    <a:pt x="10" y="56"/>
                    <a:pt x="0" y="44"/>
                    <a:pt x="0" y="26"/>
                  </a:cubicBezTo>
                  <a:cubicBezTo>
                    <a:pt x="0" y="14"/>
                    <a:pt x="3" y="0"/>
                    <a:pt x="24" y="0"/>
                  </a:cubicBezTo>
                  <a:cubicBezTo>
                    <a:pt x="45" y="0"/>
                    <a:pt x="48" y="14"/>
                    <a:pt x="48" y="26"/>
                  </a:cubicBezTo>
                  <a:cubicBezTo>
                    <a:pt x="48" y="44"/>
                    <a:pt x="38" y="56"/>
                    <a:pt x="24" y="56"/>
                  </a:cubicBezTo>
                  <a:close/>
                  <a:moveTo>
                    <a:pt x="24" y="8"/>
                  </a:moveTo>
                  <a:cubicBezTo>
                    <a:pt x="12" y="8"/>
                    <a:pt x="8" y="13"/>
                    <a:pt x="8" y="26"/>
                  </a:cubicBezTo>
                  <a:cubicBezTo>
                    <a:pt x="8" y="37"/>
                    <a:pt x="14" y="48"/>
                    <a:pt x="24" y="48"/>
                  </a:cubicBezTo>
                  <a:cubicBezTo>
                    <a:pt x="34" y="48"/>
                    <a:pt x="40" y="37"/>
                    <a:pt x="40" y="26"/>
                  </a:cubicBezTo>
                  <a:cubicBezTo>
                    <a:pt x="40" y="13"/>
                    <a:pt x="36" y="8"/>
                    <a:pt x="24" y="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20" name="Freeform 167"/>
            <p:cNvSpPr>
              <a:spLocks/>
            </p:cNvSpPr>
            <p:nvPr/>
          </p:nvSpPr>
          <p:spPr bwMode="auto">
            <a:xfrm>
              <a:off x="4521201" y="3827463"/>
              <a:ext cx="169863" cy="82550"/>
            </a:xfrm>
            <a:custGeom>
              <a:avLst/>
              <a:gdLst>
                <a:gd name="T0" fmla="*/ 76 w 88"/>
                <a:gd name="T1" fmla="*/ 43 h 43"/>
                <a:gd name="T2" fmla="*/ 12 w 88"/>
                <a:gd name="T3" fmla="*/ 43 h 43"/>
                <a:gd name="T4" fmla="*/ 0 w 88"/>
                <a:gd name="T5" fmla="*/ 27 h 43"/>
                <a:gd name="T6" fmla="*/ 0 w 88"/>
                <a:gd name="T7" fmla="*/ 17 h 43"/>
                <a:gd name="T8" fmla="*/ 30 w 88"/>
                <a:gd name="T9" fmla="*/ 0 h 43"/>
                <a:gd name="T10" fmla="*/ 34 w 88"/>
                <a:gd name="T11" fmla="*/ 7 h 43"/>
                <a:gd name="T12" fmla="*/ 8 w 88"/>
                <a:gd name="T13" fmla="*/ 22 h 43"/>
                <a:gd name="T14" fmla="*/ 8 w 88"/>
                <a:gd name="T15" fmla="*/ 27 h 43"/>
                <a:gd name="T16" fmla="*/ 12 w 88"/>
                <a:gd name="T17" fmla="*/ 35 h 43"/>
                <a:gd name="T18" fmla="*/ 76 w 88"/>
                <a:gd name="T19" fmla="*/ 35 h 43"/>
                <a:gd name="T20" fmla="*/ 80 w 88"/>
                <a:gd name="T21" fmla="*/ 27 h 43"/>
                <a:gd name="T22" fmla="*/ 80 w 88"/>
                <a:gd name="T23" fmla="*/ 22 h 43"/>
                <a:gd name="T24" fmla="*/ 54 w 88"/>
                <a:gd name="T25" fmla="*/ 7 h 43"/>
                <a:gd name="T26" fmla="*/ 58 w 88"/>
                <a:gd name="T27" fmla="*/ 0 h 43"/>
                <a:gd name="T28" fmla="*/ 88 w 88"/>
                <a:gd name="T29" fmla="*/ 17 h 43"/>
                <a:gd name="T30" fmla="*/ 88 w 88"/>
                <a:gd name="T31" fmla="*/ 27 h 43"/>
                <a:gd name="T32" fmla="*/ 76 w 88"/>
                <a:gd name="T3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" h="43">
                  <a:moveTo>
                    <a:pt x="76" y="43"/>
                  </a:moveTo>
                  <a:cubicBezTo>
                    <a:pt x="12" y="43"/>
                    <a:pt x="12" y="43"/>
                    <a:pt x="12" y="43"/>
                  </a:cubicBezTo>
                  <a:cubicBezTo>
                    <a:pt x="5" y="43"/>
                    <a:pt x="0" y="36"/>
                    <a:pt x="0" y="2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32"/>
                    <a:pt x="11" y="35"/>
                    <a:pt x="12" y="35"/>
                  </a:cubicBezTo>
                  <a:cubicBezTo>
                    <a:pt x="76" y="35"/>
                    <a:pt x="76" y="35"/>
                    <a:pt x="76" y="35"/>
                  </a:cubicBezTo>
                  <a:cubicBezTo>
                    <a:pt x="77" y="35"/>
                    <a:pt x="80" y="32"/>
                    <a:pt x="80" y="27"/>
                  </a:cubicBezTo>
                  <a:cubicBezTo>
                    <a:pt x="80" y="22"/>
                    <a:pt x="80" y="22"/>
                    <a:pt x="80" y="22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8" y="17"/>
                    <a:pt x="88" y="17"/>
                    <a:pt x="88" y="17"/>
                  </a:cubicBezTo>
                  <a:cubicBezTo>
                    <a:pt x="88" y="27"/>
                    <a:pt x="88" y="27"/>
                    <a:pt x="88" y="27"/>
                  </a:cubicBezTo>
                  <a:cubicBezTo>
                    <a:pt x="88" y="36"/>
                    <a:pt x="82" y="43"/>
                    <a:pt x="76" y="4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21" name="Freeform 168"/>
            <p:cNvSpPr>
              <a:spLocks noEditPoints="1"/>
            </p:cNvSpPr>
            <p:nvPr/>
          </p:nvSpPr>
          <p:spPr bwMode="auto">
            <a:xfrm>
              <a:off x="4395788" y="3910013"/>
              <a:ext cx="93663" cy="109538"/>
            </a:xfrm>
            <a:custGeom>
              <a:avLst/>
              <a:gdLst>
                <a:gd name="T0" fmla="*/ 24 w 48"/>
                <a:gd name="T1" fmla="*/ 56 h 56"/>
                <a:gd name="T2" fmla="*/ 0 w 48"/>
                <a:gd name="T3" fmla="*/ 26 h 56"/>
                <a:gd name="T4" fmla="*/ 24 w 48"/>
                <a:gd name="T5" fmla="*/ 0 h 56"/>
                <a:gd name="T6" fmla="*/ 48 w 48"/>
                <a:gd name="T7" fmla="*/ 26 h 56"/>
                <a:gd name="T8" fmla="*/ 24 w 48"/>
                <a:gd name="T9" fmla="*/ 56 h 56"/>
                <a:gd name="T10" fmla="*/ 24 w 48"/>
                <a:gd name="T11" fmla="*/ 8 h 56"/>
                <a:gd name="T12" fmla="*/ 8 w 48"/>
                <a:gd name="T13" fmla="*/ 26 h 56"/>
                <a:gd name="T14" fmla="*/ 24 w 48"/>
                <a:gd name="T15" fmla="*/ 48 h 56"/>
                <a:gd name="T16" fmla="*/ 40 w 48"/>
                <a:gd name="T17" fmla="*/ 26 h 56"/>
                <a:gd name="T18" fmla="*/ 24 w 48"/>
                <a:gd name="T19" fmla="*/ 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56">
                  <a:moveTo>
                    <a:pt x="24" y="56"/>
                  </a:moveTo>
                  <a:cubicBezTo>
                    <a:pt x="10" y="56"/>
                    <a:pt x="0" y="44"/>
                    <a:pt x="0" y="26"/>
                  </a:cubicBezTo>
                  <a:cubicBezTo>
                    <a:pt x="0" y="14"/>
                    <a:pt x="3" y="0"/>
                    <a:pt x="24" y="0"/>
                  </a:cubicBezTo>
                  <a:cubicBezTo>
                    <a:pt x="45" y="0"/>
                    <a:pt x="48" y="14"/>
                    <a:pt x="48" y="26"/>
                  </a:cubicBezTo>
                  <a:cubicBezTo>
                    <a:pt x="48" y="44"/>
                    <a:pt x="38" y="56"/>
                    <a:pt x="24" y="56"/>
                  </a:cubicBezTo>
                  <a:close/>
                  <a:moveTo>
                    <a:pt x="24" y="8"/>
                  </a:moveTo>
                  <a:cubicBezTo>
                    <a:pt x="12" y="8"/>
                    <a:pt x="8" y="13"/>
                    <a:pt x="8" y="26"/>
                  </a:cubicBezTo>
                  <a:cubicBezTo>
                    <a:pt x="8" y="37"/>
                    <a:pt x="14" y="48"/>
                    <a:pt x="24" y="48"/>
                  </a:cubicBezTo>
                  <a:cubicBezTo>
                    <a:pt x="34" y="48"/>
                    <a:pt x="40" y="37"/>
                    <a:pt x="40" y="26"/>
                  </a:cubicBezTo>
                  <a:cubicBezTo>
                    <a:pt x="40" y="13"/>
                    <a:pt x="36" y="8"/>
                    <a:pt x="24" y="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22" name="Freeform 169"/>
            <p:cNvSpPr>
              <a:spLocks/>
            </p:cNvSpPr>
            <p:nvPr/>
          </p:nvSpPr>
          <p:spPr bwMode="auto">
            <a:xfrm>
              <a:off x="4357688" y="3998913"/>
              <a:ext cx="169863" cy="82550"/>
            </a:xfrm>
            <a:custGeom>
              <a:avLst/>
              <a:gdLst>
                <a:gd name="T0" fmla="*/ 76 w 88"/>
                <a:gd name="T1" fmla="*/ 43 h 43"/>
                <a:gd name="T2" fmla="*/ 12 w 88"/>
                <a:gd name="T3" fmla="*/ 43 h 43"/>
                <a:gd name="T4" fmla="*/ 0 w 88"/>
                <a:gd name="T5" fmla="*/ 27 h 43"/>
                <a:gd name="T6" fmla="*/ 0 w 88"/>
                <a:gd name="T7" fmla="*/ 17 h 43"/>
                <a:gd name="T8" fmla="*/ 30 w 88"/>
                <a:gd name="T9" fmla="*/ 0 h 43"/>
                <a:gd name="T10" fmla="*/ 34 w 88"/>
                <a:gd name="T11" fmla="*/ 7 h 43"/>
                <a:gd name="T12" fmla="*/ 8 w 88"/>
                <a:gd name="T13" fmla="*/ 22 h 43"/>
                <a:gd name="T14" fmla="*/ 8 w 88"/>
                <a:gd name="T15" fmla="*/ 27 h 43"/>
                <a:gd name="T16" fmla="*/ 12 w 88"/>
                <a:gd name="T17" fmla="*/ 35 h 43"/>
                <a:gd name="T18" fmla="*/ 76 w 88"/>
                <a:gd name="T19" fmla="*/ 35 h 43"/>
                <a:gd name="T20" fmla="*/ 80 w 88"/>
                <a:gd name="T21" fmla="*/ 27 h 43"/>
                <a:gd name="T22" fmla="*/ 80 w 88"/>
                <a:gd name="T23" fmla="*/ 22 h 43"/>
                <a:gd name="T24" fmla="*/ 54 w 88"/>
                <a:gd name="T25" fmla="*/ 7 h 43"/>
                <a:gd name="T26" fmla="*/ 58 w 88"/>
                <a:gd name="T27" fmla="*/ 0 h 43"/>
                <a:gd name="T28" fmla="*/ 88 w 88"/>
                <a:gd name="T29" fmla="*/ 17 h 43"/>
                <a:gd name="T30" fmla="*/ 88 w 88"/>
                <a:gd name="T31" fmla="*/ 27 h 43"/>
                <a:gd name="T32" fmla="*/ 76 w 88"/>
                <a:gd name="T3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" h="43">
                  <a:moveTo>
                    <a:pt x="76" y="43"/>
                  </a:moveTo>
                  <a:cubicBezTo>
                    <a:pt x="12" y="43"/>
                    <a:pt x="12" y="43"/>
                    <a:pt x="12" y="43"/>
                  </a:cubicBezTo>
                  <a:cubicBezTo>
                    <a:pt x="5" y="43"/>
                    <a:pt x="0" y="36"/>
                    <a:pt x="0" y="2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32"/>
                    <a:pt x="11" y="35"/>
                    <a:pt x="12" y="35"/>
                  </a:cubicBezTo>
                  <a:cubicBezTo>
                    <a:pt x="76" y="35"/>
                    <a:pt x="76" y="35"/>
                    <a:pt x="76" y="35"/>
                  </a:cubicBezTo>
                  <a:cubicBezTo>
                    <a:pt x="77" y="35"/>
                    <a:pt x="80" y="32"/>
                    <a:pt x="80" y="27"/>
                  </a:cubicBezTo>
                  <a:cubicBezTo>
                    <a:pt x="80" y="22"/>
                    <a:pt x="80" y="22"/>
                    <a:pt x="80" y="22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8" y="17"/>
                    <a:pt x="88" y="17"/>
                    <a:pt x="88" y="17"/>
                  </a:cubicBezTo>
                  <a:cubicBezTo>
                    <a:pt x="88" y="27"/>
                    <a:pt x="88" y="27"/>
                    <a:pt x="88" y="27"/>
                  </a:cubicBezTo>
                  <a:cubicBezTo>
                    <a:pt x="88" y="36"/>
                    <a:pt x="82" y="43"/>
                    <a:pt x="76" y="4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23" name="Freeform 170"/>
            <p:cNvSpPr>
              <a:spLocks noEditPoints="1"/>
            </p:cNvSpPr>
            <p:nvPr/>
          </p:nvSpPr>
          <p:spPr bwMode="auto">
            <a:xfrm>
              <a:off x="4722813" y="3584576"/>
              <a:ext cx="92075" cy="107950"/>
            </a:xfrm>
            <a:custGeom>
              <a:avLst/>
              <a:gdLst>
                <a:gd name="T0" fmla="*/ 24 w 48"/>
                <a:gd name="T1" fmla="*/ 56 h 56"/>
                <a:gd name="T2" fmla="*/ 0 w 48"/>
                <a:gd name="T3" fmla="*/ 26 h 56"/>
                <a:gd name="T4" fmla="*/ 24 w 48"/>
                <a:gd name="T5" fmla="*/ 0 h 56"/>
                <a:gd name="T6" fmla="*/ 48 w 48"/>
                <a:gd name="T7" fmla="*/ 26 h 56"/>
                <a:gd name="T8" fmla="*/ 24 w 48"/>
                <a:gd name="T9" fmla="*/ 56 h 56"/>
                <a:gd name="T10" fmla="*/ 24 w 48"/>
                <a:gd name="T11" fmla="*/ 8 h 56"/>
                <a:gd name="T12" fmla="*/ 8 w 48"/>
                <a:gd name="T13" fmla="*/ 26 h 56"/>
                <a:gd name="T14" fmla="*/ 24 w 48"/>
                <a:gd name="T15" fmla="*/ 48 h 56"/>
                <a:gd name="T16" fmla="*/ 40 w 48"/>
                <a:gd name="T17" fmla="*/ 26 h 56"/>
                <a:gd name="T18" fmla="*/ 24 w 48"/>
                <a:gd name="T19" fmla="*/ 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56">
                  <a:moveTo>
                    <a:pt x="24" y="56"/>
                  </a:moveTo>
                  <a:cubicBezTo>
                    <a:pt x="10" y="56"/>
                    <a:pt x="0" y="44"/>
                    <a:pt x="0" y="26"/>
                  </a:cubicBezTo>
                  <a:cubicBezTo>
                    <a:pt x="0" y="14"/>
                    <a:pt x="3" y="0"/>
                    <a:pt x="24" y="0"/>
                  </a:cubicBezTo>
                  <a:cubicBezTo>
                    <a:pt x="45" y="0"/>
                    <a:pt x="48" y="14"/>
                    <a:pt x="48" y="26"/>
                  </a:cubicBezTo>
                  <a:cubicBezTo>
                    <a:pt x="48" y="44"/>
                    <a:pt x="38" y="56"/>
                    <a:pt x="24" y="56"/>
                  </a:cubicBezTo>
                  <a:close/>
                  <a:moveTo>
                    <a:pt x="24" y="8"/>
                  </a:moveTo>
                  <a:cubicBezTo>
                    <a:pt x="12" y="8"/>
                    <a:pt x="8" y="13"/>
                    <a:pt x="8" y="26"/>
                  </a:cubicBezTo>
                  <a:cubicBezTo>
                    <a:pt x="8" y="37"/>
                    <a:pt x="14" y="48"/>
                    <a:pt x="24" y="48"/>
                  </a:cubicBezTo>
                  <a:cubicBezTo>
                    <a:pt x="34" y="48"/>
                    <a:pt x="40" y="37"/>
                    <a:pt x="40" y="26"/>
                  </a:cubicBezTo>
                  <a:cubicBezTo>
                    <a:pt x="40" y="13"/>
                    <a:pt x="36" y="8"/>
                    <a:pt x="24" y="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24" name="Freeform 171"/>
            <p:cNvSpPr>
              <a:spLocks/>
            </p:cNvSpPr>
            <p:nvPr/>
          </p:nvSpPr>
          <p:spPr bwMode="auto">
            <a:xfrm>
              <a:off x="4683126" y="3671888"/>
              <a:ext cx="171450" cy="84138"/>
            </a:xfrm>
            <a:custGeom>
              <a:avLst/>
              <a:gdLst>
                <a:gd name="T0" fmla="*/ 76 w 88"/>
                <a:gd name="T1" fmla="*/ 43 h 43"/>
                <a:gd name="T2" fmla="*/ 12 w 88"/>
                <a:gd name="T3" fmla="*/ 43 h 43"/>
                <a:gd name="T4" fmla="*/ 0 w 88"/>
                <a:gd name="T5" fmla="*/ 27 h 43"/>
                <a:gd name="T6" fmla="*/ 0 w 88"/>
                <a:gd name="T7" fmla="*/ 17 h 43"/>
                <a:gd name="T8" fmla="*/ 30 w 88"/>
                <a:gd name="T9" fmla="*/ 0 h 43"/>
                <a:gd name="T10" fmla="*/ 34 w 88"/>
                <a:gd name="T11" fmla="*/ 7 h 43"/>
                <a:gd name="T12" fmla="*/ 8 w 88"/>
                <a:gd name="T13" fmla="*/ 22 h 43"/>
                <a:gd name="T14" fmla="*/ 8 w 88"/>
                <a:gd name="T15" fmla="*/ 27 h 43"/>
                <a:gd name="T16" fmla="*/ 12 w 88"/>
                <a:gd name="T17" fmla="*/ 35 h 43"/>
                <a:gd name="T18" fmla="*/ 76 w 88"/>
                <a:gd name="T19" fmla="*/ 35 h 43"/>
                <a:gd name="T20" fmla="*/ 80 w 88"/>
                <a:gd name="T21" fmla="*/ 27 h 43"/>
                <a:gd name="T22" fmla="*/ 80 w 88"/>
                <a:gd name="T23" fmla="*/ 22 h 43"/>
                <a:gd name="T24" fmla="*/ 54 w 88"/>
                <a:gd name="T25" fmla="*/ 7 h 43"/>
                <a:gd name="T26" fmla="*/ 58 w 88"/>
                <a:gd name="T27" fmla="*/ 0 h 43"/>
                <a:gd name="T28" fmla="*/ 88 w 88"/>
                <a:gd name="T29" fmla="*/ 17 h 43"/>
                <a:gd name="T30" fmla="*/ 88 w 88"/>
                <a:gd name="T31" fmla="*/ 27 h 43"/>
                <a:gd name="T32" fmla="*/ 76 w 88"/>
                <a:gd name="T3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" h="43">
                  <a:moveTo>
                    <a:pt x="76" y="43"/>
                  </a:moveTo>
                  <a:cubicBezTo>
                    <a:pt x="12" y="43"/>
                    <a:pt x="12" y="43"/>
                    <a:pt x="12" y="43"/>
                  </a:cubicBezTo>
                  <a:cubicBezTo>
                    <a:pt x="5" y="43"/>
                    <a:pt x="0" y="36"/>
                    <a:pt x="0" y="2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32"/>
                    <a:pt x="11" y="35"/>
                    <a:pt x="12" y="35"/>
                  </a:cubicBezTo>
                  <a:cubicBezTo>
                    <a:pt x="76" y="35"/>
                    <a:pt x="76" y="35"/>
                    <a:pt x="76" y="35"/>
                  </a:cubicBezTo>
                  <a:cubicBezTo>
                    <a:pt x="77" y="35"/>
                    <a:pt x="80" y="32"/>
                    <a:pt x="80" y="27"/>
                  </a:cubicBezTo>
                  <a:cubicBezTo>
                    <a:pt x="80" y="22"/>
                    <a:pt x="80" y="22"/>
                    <a:pt x="80" y="22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8" y="17"/>
                    <a:pt x="88" y="17"/>
                    <a:pt x="88" y="17"/>
                  </a:cubicBezTo>
                  <a:cubicBezTo>
                    <a:pt x="88" y="27"/>
                    <a:pt x="88" y="27"/>
                    <a:pt x="88" y="27"/>
                  </a:cubicBezTo>
                  <a:cubicBezTo>
                    <a:pt x="88" y="36"/>
                    <a:pt x="82" y="43"/>
                    <a:pt x="76" y="4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</p:grpSp>
      <p:grpSp>
        <p:nvGrpSpPr>
          <p:cNvPr id="25" name="Группа 24"/>
          <p:cNvGrpSpPr/>
          <p:nvPr/>
        </p:nvGrpSpPr>
        <p:grpSpPr>
          <a:xfrm>
            <a:off x="5695885" y="3152088"/>
            <a:ext cx="409339" cy="339148"/>
            <a:chOff x="1879601" y="2894013"/>
            <a:chExt cx="495300" cy="373063"/>
          </a:xfrm>
          <a:solidFill>
            <a:srgbClr val="1BCCB3"/>
          </a:solidFill>
        </p:grpSpPr>
        <p:sp>
          <p:nvSpPr>
            <p:cNvPr id="26" name="Freeform 30"/>
            <p:cNvSpPr>
              <a:spLocks/>
            </p:cNvSpPr>
            <p:nvPr/>
          </p:nvSpPr>
          <p:spPr bwMode="auto">
            <a:xfrm>
              <a:off x="2281238" y="2894013"/>
              <a:ext cx="63500" cy="61913"/>
            </a:xfrm>
            <a:custGeom>
              <a:avLst/>
              <a:gdLst>
                <a:gd name="T0" fmla="*/ 40 w 40"/>
                <a:gd name="T1" fmla="*/ 39 h 39"/>
                <a:gd name="T2" fmla="*/ 30 w 40"/>
                <a:gd name="T3" fmla="*/ 39 h 39"/>
                <a:gd name="T4" fmla="*/ 30 w 40"/>
                <a:gd name="T5" fmla="*/ 10 h 39"/>
                <a:gd name="T6" fmla="*/ 0 w 40"/>
                <a:gd name="T7" fmla="*/ 10 h 39"/>
                <a:gd name="T8" fmla="*/ 0 w 40"/>
                <a:gd name="T9" fmla="*/ 0 h 39"/>
                <a:gd name="T10" fmla="*/ 40 w 40"/>
                <a:gd name="T11" fmla="*/ 0 h 39"/>
                <a:gd name="T12" fmla="*/ 40 w 40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39">
                  <a:moveTo>
                    <a:pt x="40" y="39"/>
                  </a:moveTo>
                  <a:lnTo>
                    <a:pt x="30" y="39"/>
                  </a:lnTo>
                  <a:lnTo>
                    <a:pt x="30" y="10"/>
                  </a:lnTo>
                  <a:lnTo>
                    <a:pt x="0" y="10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27" name="Freeform 31"/>
            <p:cNvSpPr>
              <a:spLocks/>
            </p:cNvSpPr>
            <p:nvPr/>
          </p:nvSpPr>
          <p:spPr bwMode="auto">
            <a:xfrm>
              <a:off x="1973263" y="2898776"/>
              <a:ext cx="368300" cy="242888"/>
            </a:xfrm>
            <a:custGeom>
              <a:avLst/>
              <a:gdLst>
                <a:gd name="T0" fmla="*/ 8 w 232"/>
                <a:gd name="T1" fmla="*/ 153 h 153"/>
                <a:gd name="T2" fmla="*/ 0 w 232"/>
                <a:gd name="T3" fmla="*/ 146 h 153"/>
                <a:gd name="T4" fmla="*/ 87 w 232"/>
                <a:gd name="T5" fmla="*/ 60 h 153"/>
                <a:gd name="T6" fmla="*/ 126 w 232"/>
                <a:gd name="T7" fmla="*/ 99 h 153"/>
                <a:gd name="T8" fmla="*/ 225 w 232"/>
                <a:gd name="T9" fmla="*/ 0 h 153"/>
                <a:gd name="T10" fmla="*/ 232 w 232"/>
                <a:gd name="T11" fmla="*/ 6 h 153"/>
                <a:gd name="T12" fmla="*/ 126 w 232"/>
                <a:gd name="T13" fmla="*/ 112 h 153"/>
                <a:gd name="T14" fmla="*/ 87 w 232"/>
                <a:gd name="T15" fmla="*/ 73 h 153"/>
                <a:gd name="T16" fmla="*/ 8 w 232"/>
                <a:gd name="T17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2" h="153">
                  <a:moveTo>
                    <a:pt x="8" y="153"/>
                  </a:moveTo>
                  <a:lnTo>
                    <a:pt x="0" y="146"/>
                  </a:lnTo>
                  <a:lnTo>
                    <a:pt x="87" y="60"/>
                  </a:lnTo>
                  <a:lnTo>
                    <a:pt x="126" y="99"/>
                  </a:lnTo>
                  <a:lnTo>
                    <a:pt x="225" y="0"/>
                  </a:lnTo>
                  <a:lnTo>
                    <a:pt x="232" y="6"/>
                  </a:lnTo>
                  <a:lnTo>
                    <a:pt x="126" y="112"/>
                  </a:lnTo>
                  <a:lnTo>
                    <a:pt x="87" y="73"/>
                  </a:lnTo>
                  <a:lnTo>
                    <a:pt x="8" y="1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28" name="Freeform 32"/>
            <p:cNvSpPr>
              <a:spLocks noEditPoints="1"/>
            </p:cNvSpPr>
            <p:nvPr/>
          </p:nvSpPr>
          <p:spPr bwMode="auto">
            <a:xfrm>
              <a:off x="1879601" y="3205163"/>
              <a:ext cx="495300" cy="61913"/>
            </a:xfrm>
            <a:custGeom>
              <a:avLst/>
              <a:gdLst>
                <a:gd name="T0" fmla="*/ 290 w 312"/>
                <a:gd name="T1" fmla="*/ 39 h 39"/>
                <a:gd name="T2" fmla="*/ 23 w 312"/>
                <a:gd name="T3" fmla="*/ 39 h 39"/>
                <a:gd name="T4" fmla="*/ 0 w 312"/>
                <a:gd name="T5" fmla="*/ 17 h 39"/>
                <a:gd name="T6" fmla="*/ 0 w 312"/>
                <a:gd name="T7" fmla="*/ 0 h 39"/>
                <a:gd name="T8" fmla="*/ 124 w 312"/>
                <a:gd name="T9" fmla="*/ 0 h 39"/>
                <a:gd name="T10" fmla="*/ 134 w 312"/>
                <a:gd name="T11" fmla="*/ 10 h 39"/>
                <a:gd name="T12" fmla="*/ 179 w 312"/>
                <a:gd name="T13" fmla="*/ 10 h 39"/>
                <a:gd name="T14" fmla="*/ 189 w 312"/>
                <a:gd name="T15" fmla="*/ 0 h 39"/>
                <a:gd name="T16" fmla="*/ 312 w 312"/>
                <a:gd name="T17" fmla="*/ 0 h 39"/>
                <a:gd name="T18" fmla="*/ 312 w 312"/>
                <a:gd name="T19" fmla="*/ 17 h 39"/>
                <a:gd name="T20" fmla="*/ 290 w 312"/>
                <a:gd name="T21" fmla="*/ 39 h 39"/>
                <a:gd name="T22" fmla="*/ 26 w 312"/>
                <a:gd name="T23" fmla="*/ 29 h 39"/>
                <a:gd name="T24" fmla="*/ 286 w 312"/>
                <a:gd name="T25" fmla="*/ 29 h 39"/>
                <a:gd name="T26" fmla="*/ 302 w 312"/>
                <a:gd name="T27" fmla="*/ 13 h 39"/>
                <a:gd name="T28" fmla="*/ 302 w 312"/>
                <a:gd name="T29" fmla="*/ 10 h 39"/>
                <a:gd name="T30" fmla="*/ 192 w 312"/>
                <a:gd name="T31" fmla="*/ 10 h 39"/>
                <a:gd name="T32" fmla="*/ 183 w 312"/>
                <a:gd name="T33" fmla="*/ 19 h 39"/>
                <a:gd name="T34" fmla="*/ 130 w 312"/>
                <a:gd name="T35" fmla="*/ 19 h 39"/>
                <a:gd name="T36" fmla="*/ 120 w 312"/>
                <a:gd name="T37" fmla="*/ 10 h 39"/>
                <a:gd name="T38" fmla="*/ 9 w 312"/>
                <a:gd name="T39" fmla="*/ 10 h 39"/>
                <a:gd name="T40" fmla="*/ 9 w 312"/>
                <a:gd name="T41" fmla="*/ 13 h 39"/>
                <a:gd name="T42" fmla="*/ 26 w 312"/>
                <a:gd name="T43" fmla="*/ 2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12" h="39">
                  <a:moveTo>
                    <a:pt x="290" y="39"/>
                  </a:moveTo>
                  <a:lnTo>
                    <a:pt x="23" y="39"/>
                  </a:lnTo>
                  <a:lnTo>
                    <a:pt x="0" y="17"/>
                  </a:lnTo>
                  <a:lnTo>
                    <a:pt x="0" y="0"/>
                  </a:lnTo>
                  <a:lnTo>
                    <a:pt x="124" y="0"/>
                  </a:lnTo>
                  <a:lnTo>
                    <a:pt x="134" y="10"/>
                  </a:lnTo>
                  <a:lnTo>
                    <a:pt x="179" y="10"/>
                  </a:lnTo>
                  <a:lnTo>
                    <a:pt x="189" y="0"/>
                  </a:lnTo>
                  <a:lnTo>
                    <a:pt x="312" y="0"/>
                  </a:lnTo>
                  <a:lnTo>
                    <a:pt x="312" y="17"/>
                  </a:lnTo>
                  <a:lnTo>
                    <a:pt x="290" y="39"/>
                  </a:lnTo>
                  <a:close/>
                  <a:moveTo>
                    <a:pt x="26" y="29"/>
                  </a:moveTo>
                  <a:lnTo>
                    <a:pt x="286" y="29"/>
                  </a:lnTo>
                  <a:lnTo>
                    <a:pt x="302" y="13"/>
                  </a:lnTo>
                  <a:lnTo>
                    <a:pt x="302" y="10"/>
                  </a:lnTo>
                  <a:lnTo>
                    <a:pt x="192" y="10"/>
                  </a:lnTo>
                  <a:lnTo>
                    <a:pt x="183" y="19"/>
                  </a:lnTo>
                  <a:lnTo>
                    <a:pt x="130" y="19"/>
                  </a:lnTo>
                  <a:lnTo>
                    <a:pt x="120" y="10"/>
                  </a:lnTo>
                  <a:lnTo>
                    <a:pt x="9" y="10"/>
                  </a:lnTo>
                  <a:lnTo>
                    <a:pt x="9" y="13"/>
                  </a:lnTo>
                  <a:lnTo>
                    <a:pt x="26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29" name="Freeform 33"/>
            <p:cNvSpPr>
              <a:spLocks/>
            </p:cNvSpPr>
            <p:nvPr/>
          </p:nvSpPr>
          <p:spPr bwMode="auto">
            <a:xfrm>
              <a:off x="1909763" y="2894013"/>
              <a:ext cx="341313" cy="295275"/>
            </a:xfrm>
            <a:custGeom>
              <a:avLst/>
              <a:gdLst>
                <a:gd name="T0" fmla="*/ 8 w 176"/>
                <a:gd name="T1" fmla="*/ 152 h 152"/>
                <a:gd name="T2" fmla="*/ 0 w 176"/>
                <a:gd name="T3" fmla="*/ 152 h 152"/>
                <a:gd name="T4" fmla="*/ 0 w 176"/>
                <a:gd name="T5" fmla="*/ 16 h 152"/>
                <a:gd name="T6" fmla="*/ 16 w 176"/>
                <a:gd name="T7" fmla="*/ 0 h 152"/>
                <a:gd name="T8" fmla="*/ 176 w 176"/>
                <a:gd name="T9" fmla="*/ 0 h 152"/>
                <a:gd name="T10" fmla="*/ 176 w 176"/>
                <a:gd name="T11" fmla="*/ 8 h 152"/>
                <a:gd name="T12" fmla="*/ 16 w 176"/>
                <a:gd name="T13" fmla="*/ 8 h 152"/>
                <a:gd name="T14" fmla="*/ 8 w 176"/>
                <a:gd name="T15" fmla="*/ 16 h 152"/>
                <a:gd name="T16" fmla="*/ 8 w 176"/>
                <a:gd name="T17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52">
                  <a:moveTo>
                    <a:pt x="8" y="152"/>
                  </a:moveTo>
                  <a:cubicBezTo>
                    <a:pt x="0" y="152"/>
                    <a:pt x="0" y="152"/>
                    <a:pt x="0" y="15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76" y="8"/>
                    <a:pt x="176" y="8"/>
                    <a:pt x="17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2" y="8"/>
                    <a:pt x="8" y="12"/>
                    <a:pt x="8" y="16"/>
                  </a:cubicBezTo>
                  <a:lnTo>
                    <a:pt x="8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30" name="Rectangle 34"/>
            <p:cNvSpPr>
              <a:spLocks noChangeArrowheads="1"/>
            </p:cNvSpPr>
            <p:nvPr/>
          </p:nvSpPr>
          <p:spPr bwMode="auto">
            <a:xfrm>
              <a:off x="2328863" y="2987676"/>
              <a:ext cx="15875" cy="201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31" name="Freeform 35"/>
            <p:cNvSpPr>
              <a:spLocks/>
            </p:cNvSpPr>
            <p:nvPr/>
          </p:nvSpPr>
          <p:spPr bwMode="auto">
            <a:xfrm>
              <a:off x="1941513" y="2925763"/>
              <a:ext cx="371475" cy="247650"/>
            </a:xfrm>
            <a:custGeom>
              <a:avLst/>
              <a:gdLst>
                <a:gd name="T0" fmla="*/ 234 w 234"/>
                <a:gd name="T1" fmla="*/ 156 h 156"/>
                <a:gd name="T2" fmla="*/ 0 w 234"/>
                <a:gd name="T3" fmla="*/ 156 h 156"/>
                <a:gd name="T4" fmla="*/ 0 w 234"/>
                <a:gd name="T5" fmla="*/ 0 h 156"/>
                <a:gd name="T6" fmla="*/ 195 w 234"/>
                <a:gd name="T7" fmla="*/ 0 h 156"/>
                <a:gd name="T8" fmla="*/ 195 w 234"/>
                <a:gd name="T9" fmla="*/ 10 h 156"/>
                <a:gd name="T10" fmla="*/ 9 w 234"/>
                <a:gd name="T11" fmla="*/ 10 h 156"/>
                <a:gd name="T12" fmla="*/ 9 w 234"/>
                <a:gd name="T13" fmla="*/ 147 h 156"/>
                <a:gd name="T14" fmla="*/ 224 w 234"/>
                <a:gd name="T15" fmla="*/ 147 h 156"/>
                <a:gd name="T16" fmla="*/ 224 w 234"/>
                <a:gd name="T17" fmla="*/ 39 h 156"/>
                <a:gd name="T18" fmla="*/ 234 w 234"/>
                <a:gd name="T19" fmla="*/ 39 h 156"/>
                <a:gd name="T20" fmla="*/ 234 w 234"/>
                <a:gd name="T21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4" h="156">
                  <a:moveTo>
                    <a:pt x="234" y="156"/>
                  </a:moveTo>
                  <a:lnTo>
                    <a:pt x="0" y="156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10"/>
                  </a:lnTo>
                  <a:lnTo>
                    <a:pt x="9" y="10"/>
                  </a:lnTo>
                  <a:lnTo>
                    <a:pt x="9" y="147"/>
                  </a:lnTo>
                  <a:lnTo>
                    <a:pt x="224" y="147"/>
                  </a:lnTo>
                  <a:lnTo>
                    <a:pt x="224" y="39"/>
                  </a:lnTo>
                  <a:lnTo>
                    <a:pt x="234" y="39"/>
                  </a:lnTo>
                  <a:lnTo>
                    <a:pt x="234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32" name="Rectangle 36"/>
            <p:cNvSpPr>
              <a:spLocks noChangeArrowheads="1"/>
            </p:cNvSpPr>
            <p:nvPr/>
          </p:nvSpPr>
          <p:spPr bwMode="auto">
            <a:xfrm>
              <a:off x="2057401" y="3095626"/>
              <a:ext cx="158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33" name="Rectangle 37"/>
            <p:cNvSpPr>
              <a:spLocks noChangeArrowheads="1"/>
            </p:cNvSpPr>
            <p:nvPr/>
          </p:nvSpPr>
          <p:spPr bwMode="auto">
            <a:xfrm>
              <a:off x="2025651" y="3127376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34" name="Rectangle 38"/>
            <p:cNvSpPr>
              <a:spLocks noChangeArrowheads="1"/>
            </p:cNvSpPr>
            <p:nvPr/>
          </p:nvSpPr>
          <p:spPr bwMode="auto">
            <a:xfrm>
              <a:off x="2087563" y="3065463"/>
              <a:ext cx="15875" cy="777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35" name="Rectangle 39"/>
            <p:cNvSpPr>
              <a:spLocks noChangeArrowheads="1"/>
            </p:cNvSpPr>
            <p:nvPr/>
          </p:nvSpPr>
          <p:spPr bwMode="auto">
            <a:xfrm>
              <a:off x="2119313" y="3065463"/>
              <a:ext cx="15875" cy="777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36" name="Rectangle 40"/>
            <p:cNvSpPr>
              <a:spLocks noChangeArrowheads="1"/>
            </p:cNvSpPr>
            <p:nvPr/>
          </p:nvSpPr>
          <p:spPr bwMode="auto">
            <a:xfrm>
              <a:off x="2149476" y="3095626"/>
              <a:ext cx="158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37" name="Rectangle 41"/>
            <p:cNvSpPr>
              <a:spLocks noChangeArrowheads="1"/>
            </p:cNvSpPr>
            <p:nvPr/>
          </p:nvSpPr>
          <p:spPr bwMode="auto">
            <a:xfrm>
              <a:off x="2181226" y="3095626"/>
              <a:ext cx="158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38" name="Rectangle 42"/>
            <p:cNvSpPr>
              <a:spLocks noChangeArrowheads="1"/>
            </p:cNvSpPr>
            <p:nvPr/>
          </p:nvSpPr>
          <p:spPr bwMode="auto">
            <a:xfrm>
              <a:off x="2212976" y="3065463"/>
              <a:ext cx="14288" cy="777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  <p:sp>
          <p:nvSpPr>
            <p:cNvPr id="39" name="Rectangle 43"/>
            <p:cNvSpPr>
              <a:spLocks noChangeArrowheads="1"/>
            </p:cNvSpPr>
            <p:nvPr/>
          </p:nvSpPr>
          <p:spPr bwMode="auto">
            <a:xfrm>
              <a:off x="2243138" y="3033713"/>
              <a:ext cx="15875" cy="109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57843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sKUPUWLQNrgWspQLZB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sKUPUWLQNrgWspQLZB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sKUPUWLQNrgWspQLZB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Совет директоров">
  <a:themeElements>
    <a:clrScheme name="Ion Boardroom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F9C9D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 Boardroom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 Boardroom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 Boardroom" id="{FC33163D-4339-46B1-8EED-24C834239D99}" vid="{EC7F02AD-9687-440F-A9DF-FAA6F22270D7}"/>
    </a:ext>
  </a:extLst>
</a:theme>
</file>

<file path=ppt/theme/theme2.xml><?xml version="1.0" encoding="utf-8"?>
<a:theme xmlns:a="http://schemas.openxmlformats.org/drawingml/2006/main" name="1_Совет директоров">
  <a:themeElements>
    <a:clrScheme name="Ion Boardroom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F9C9D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 Boardroom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 Boardroom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 Boardroom" id="{FC33163D-4339-46B1-8EED-24C834239D99}" vid="{EC7F02AD-9687-440F-A9DF-FAA6F22270D7}"/>
    </a:ext>
  </a:extLst>
</a:theme>
</file>

<file path=ppt/theme/theme3.xml><?xml version="1.0" encoding="utf-8"?>
<a:theme xmlns:a="http://schemas.openxmlformats.org/drawingml/2006/main" name="2_Совет директоров">
  <a:themeElements>
    <a:clrScheme name="Ion Boardroom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F9C9D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 Boardroom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 Boardroom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 Boardroom" id="{FC33163D-4339-46B1-8EED-24C834239D99}" vid="{EC7F02AD-9687-440F-A9DF-FAA6F22270D7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431</TotalTime>
  <Words>1973</Words>
  <Application>Microsoft Office PowerPoint</Application>
  <PresentationFormat>Широкоэкранный</PresentationFormat>
  <Paragraphs>321</Paragraphs>
  <Slides>19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34" baseType="lpstr">
      <vt:lpstr>맑은 고딕</vt:lpstr>
      <vt:lpstr>Arial</vt:lpstr>
      <vt:lpstr>Arial Unicode MS</vt:lpstr>
      <vt:lpstr>Calibri</vt:lpstr>
      <vt:lpstr>Calibri Light</vt:lpstr>
      <vt:lpstr>Century Gothic</vt:lpstr>
      <vt:lpstr>Open Sans</vt:lpstr>
      <vt:lpstr>Times New Roman</vt:lpstr>
      <vt:lpstr>Webdings</vt:lpstr>
      <vt:lpstr>Wingdings 2</vt:lpstr>
      <vt:lpstr>Wingdings 3</vt:lpstr>
      <vt:lpstr>Совет директоров</vt:lpstr>
      <vt:lpstr>1_Совет директоров</vt:lpstr>
      <vt:lpstr>2_Совет директоров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 Windows</dc:creator>
  <cp:lastModifiedBy>Andrey Knyazev</cp:lastModifiedBy>
  <cp:revision>288</cp:revision>
  <dcterms:created xsi:type="dcterms:W3CDTF">2020-10-15T16:41:36Z</dcterms:created>
  <dcterms:modified xsi:type="dcterms:W3CDTF">2021-05-28T10:24:34Z</dcterms:modified>
</cp:coreProperties>
</file>